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slides/slide34.xml" ContentType="application/vnd.openxmlformats-officedocument.presentationml.slide+xml"/>
  <Override PartName="/ppt/slides/slide43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slides/slide32.xml" ContentType="application/vnd.openxmlformats-officedocument.presentationml.slide+xml"/>
  <Override PartName="/ppt/slides/slide41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48.xml" ContentType="application/vnd.openxmlformats-officedocument.presentationml.slide+xml"/>
  <Override PartName="/ppt/slides/slide57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46.xml" ContentType="application/vnd.openxmlformats-officedocument.presentationml.slide+xml"/>
  <Override PartName="/ppt/slides/slide55.xml" ContentType="application/vnd.openxmlformats-officedocument.presentationml.slide+xml"/>
  <Override PartName="/ppt/slides/slide64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44.xml" ContentType="application/vnd.openxmlformats-officedocument.presentationml.slide+xml"/>
  <Override PartName="/ppt/slides/slide53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51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s/slide4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Default Extension="svg" ContentType="image/svg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Layouts/slideLayout4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7"/>
  </p:notesMasterIdLst>
  <p:sldIdLst>
    <p:sldId id="257" r:id="rId2"/>
    <p:sldId id="357" r:id="rId3"/>
    <p:sldId id="359" r:id="rId4"/>
    <p:sldId id="263" r:id="rId5"/>
    <p:sldId id="284" r:id="rId6"/>
    <p:sldId id="340" r:id="rId7"/>
    <p:sldId id="267" r:id="rId8"/>
    <p:sldId id="269" r:id="rId9"/>
    <p:sldId id="261" r:id="rId10"/>
    <p:sldId id="265" r:id="rId11"/>
    <p:sldId id="262" r:id="rId12"/>
    <p:sldId id="264" r:id="rId13"/>
    <p:sldId id="271" r:id="rId14"/>
    <p:sldId id="272" r:id="rId15"/>
    <p:sldId id="273" r:id="rId16"/>
    <p:sldId id="315" r:id="rId17"/>
    <p:sldId id="287" r:id="rId18"/>
    <p:sldId id="316" r:id="rId19"/>
    <p:sldId id="347" r:id="rId20"/>
    <p:sldId id="301" r:id="rId21"/>
    <p:sldId id="302" r:id="rId22"/>
    <p:sldId id="303" r:id="rId23"/>
    <p:sldId id="280" r:id="rId24"/>
    <p:sldId id="281" r:id="rId25"/>
    <p:sldId id="276" r:id="rId26"/>
    <p:sldId id="282" r:id="rId27"/>
    <p:sldId id="285" r:id="rId28"/>
    <p:sldId id="289" r:id="rId29"/>
    <p:sldId id="290" r:id="rId30"/>
    <p:sldId id="291" r:id="rId31"/>
    <p:sldId id="343" r:id="rId32"/>
    <p:sldId id="345" r:id="rId33"/>
    <p:sldId id="348" r:id="rId34"/>
    <p:sldId id="322" r:id="rId35"/>
    <p:sldId id="319" r:id="rId36"/>
    <p:sldId id="320" r:id="rId37"/>
    <p:sldId id="293" r:id="rId38"/>
    <p:sldId id="296" r:id="rId39"/>
    <p:sldId id="297" r:id="rId40"/>
    <p:sldId id="298" r:id="rId41"/>
    <p:sldId id="299" r:id="rId42"/>
    <p:sldId id="300" r:id="rId43"/>
    <p:sldId id="328" r:id="rId44"/>
    <p:sldId id="337" r:id="rId45"/>
    <p:sldId id="335" r:id="rId46"/>
    <p:sldId id="333" r:id="rId47"/>
    <p:sldId id="341" r:id="rId48"/>
    <p:sldId id="334" r:id="rId49"/>
    <p:sldId id="310" r:id="rId50"/>
    <p:sldId id="311" r:id="rId51"/>
    <p:sldId id="306" r:id="rId52"/>
    <p:sldId id="323" r:id="rId53"/>
    <p:sldId id="307" r:id="rId54"/>
    <p:sldId id="312" r:id="rId55"/>
    <p:sldId id="352" r:id="rId56"/>
    <p:sldId id="339" r:id="rId57"/>
    <p:sldId id="353" r:id="rId58"/>
    <p:sldId id="354" r:id="rId59"/>
    <p:sldId id="346" r:id="rId60"/>
    <p:sldId id="349" r:id="rId61"/>
    <p:sldId id="350" r:id="rId62"/>
    <p:sldId id="355" r:id="rId63"/>
    <p:sldId id="358" r:id="rId64"/>
    <p:sldId id="360" r:id="rId65"/>
    <p:sldId id="361" r:id="rId66"/>
  </p:sldIdLst>
  <p:sldSz cx="9144000" cy="6858000" type="screen4x3"/>
  <p:notesSz cx="6858000" cy="9144000"/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0C5DC"/>
    <a:srgbClr val="36BBD6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22" d="100"/>
          <a:sy n="122" d="100"/>
        </p:scale>
        <p:origin x="-1302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presProps" Target="presProps.xml"/><Relationship Id="rId7" Type="http://schemas.openxmlformats.org/officeDocument/2006/relationships/slide" Target="slides/slide6.xml"/><Relationship Id="rId71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61" Type="http://schemas.openxmlformats.org/officeDocument/2006/relationships/slide" Target="slides/slide60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viewProps" Target="viewProp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099732-6C51-46AE-A098-1A9EE988C5D9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9C4117A-5188-424C-BAD4-08D31921A5FD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1 Marcador de imagen de diapositiva">
            <a:extLst>
              <a:ext uri="{FF2B5EF4-FFF2-40B4-BE49-F238E27FC236}">
                <a16:creationId xmlns="" xmlns:a16="http://schemas.microsoft.com/office/drawing/2014/main" id="{6E3180FE-2F10-026A-08A5-FF54BFEBDE23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" name="2 Marcador de notas">
            <a:extLst>
              <a:ext uri="{FF2B5EF4-FFF2-40B4-BE49-F238E27FC236}">
                <a16:creationId xmlns="" xmlns:a16="http://schemas.microsoft.com/office/drawing/2014/main" id="{08F60811-F6FC-1D95-5983-6A3404C0A4D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defRPr/>
            </a:pPr>
            <a:r>
              <a:rPr lang="es-ES" dirty="0">
                <a:cs typeface="ＭＳ Ｐゴシック" charset="0"/>
              </a:rPr>
              <a:t>tercer punto: el más importante</a:t>
            </a:r>
          </a:p>
          <a:p>
            <a:pPr>
              <a:defRPr/>
            </a:pPr>
            <a:r>
              <a:rPr lang="es-ES" dirty="0">
                <a:cs typeface="ＭＳ Ｐゴシック" charset="0"/>
              </a:rPr>
              <a:t>En los últimos 10 años se ha descrito un nuevo síndrome, ACLF, que puede desarrollarse en cualquier estadio de la enfermedad pero especialmente en la fase de descompensación.</a:t>
            </a:r>
          </a:p>
        </p:txBody>
      </p:sp>
      <p:sp>
        <p:nvSpPr>
          <p:cNvPr id="27651" name="3 Marcador de número de diapositiva">
            <a:extLst>
              <a:ext uri="{FF2B5EF4-FFF2-40B4-BE49-F238E27FC236}">
                <a16:creationId xmlns="" xmlns:a16="http://schemas.microsoft.com/office/drawing/2014/main" id="{0B547485-077B-7A3D-F087-0253A173DE6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Palatino Linotype" panose="02040502050505030304" pitchFamily="18" charset="0"/>
                <a:ea typeface="ＭＳ Ｐゴシック" panose="020B0600070205080204" pitchFamily="34" charset="-128"/>
              </a:defRPr>
            </a:lvl9pPr>
          </a:lstStyle>
          <a:p>
            <a:fld id="{FA5BDA67-9475-0440-91D6-04D15733A46F}" type="slidenum">
              <a:rPr lang="es-ES" altLang="it-IT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2</a:t>
            </a:fld>
            <a:endParaRPr lang="es-ES" altLang="it-IT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92" name="PlaceHolder 1"/>
          <p:cNvSpPr>
            <a:spLocks noGrp="1"/>
          </p:cNvSpPr>
          <p:nvPr>
            <p:ph type="body"/>
          </p:nvPr>
        </p:nvSpPr>
        <p:spPr>
          <a:xfrm>
            <a:off x="685800" y="4400640"/>
            <a:ext cx="5486040" cy="3600000"/>
          </a:xfrm>
          <a:prstGeom prst="rect">
            <a:avLst/>
          </a:prstGeom>
        </p:spPr>
        <p:txBody>
          <a:bodyPr/>
          <a:lstStyle/>
          <a:p>
            <a:endParaRPr lang="it-IT" sz="20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4293" name="CustomShape 2"/>
          <p:cNvSpPr/>
          <p:nvPr/>
        </p:nvSpPr>
        <p:spPr>
          <a:xfrm>
            <a:off x="3884760" y="8685360"/>
            <a:ext cx="2971440" cy="45684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Segnaposto immagine diapositiva 1">
            <a:extLst>
              <a:ext uri="{FF2B5EF4-FFF2-40B4-BE49-F238E27FC236}">
                <a16:creationId xmlns:a16="http://schemas.microsoft.com/office/drawing/2014/main" xmlns="" id="{D0251A16-9AF2-4382-880E-7F362337D3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65225" y="1241425"/>
            <a:ext cx="4467225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22883" name="Segnaposto note 2">
            <a:extLst>
              <a:ext uri="{FF2B5EF4-FFF2-40B4-BE49-F238E27FC236}">
                <a16:creationId xmlns:a16="http://schemas.microsoft.com/office/drawing/2014/main" xmlns="" id="{974DC91E-8800-4C2F-8A00-1AF871CF31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it-IT" altLang="it-IT" dirty="0"/>
          </a:p>
        </p:txBody>
      </p:sp>
      <p:sp>
        <p:nvSpPr>
          <p:cNvPr id="154628" name="Segnaposto numero diapositiva 3">
            <a:extLst>
              <a:ext uri="{FF2B5EF4-FFF2-40B4-BE49-F238E27FC236}">
                <a16:creationId xmlns:a16="http://schemas.microsoft.com/office/drawing/2014/main" xmlns="" id="{F8695AE4-6E4B-4AF8-9E19-D281C61BCF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7FBD6451-AF48-403D-9E97-F322518DE387}" type="slidenum">
              <a:rPr lang="it-IT" altLang="it-IT" smtClean="0"/>
              <a:pPr/>
              <a:t>13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xmlns="" val="42774313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Segnaposto immagine diapositiva 1">
            <a:extLst>
              <a:ext uri="{FF2B5EF4-FFF2-40B4-BE49-F238E27FC236}">
                <a16:creationId xmlns="" xmlns:a16="http://schemas.microsoft.com/office/drawing/2014/main" id="{D0251A16-9AF2-4382-880E-7F362337D3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65225" y="1241425"/>
            <a:ext cx="4467225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883" name="Segnaposto note 2">
            <a:extLst>
              <a:ext uri="{FF2B5EF4-FFF2-40B4-BE49-F238E27FC236}">
                <a16:creationId xmlns="" xmlns:a16="http://schemas.microsoft.com/office/drawing/2014/main" id="{974DC91E-8800-4C2F-8A00-1AF871CF31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algn="just">
              <a:spcBef>
                <a:spcPct val="30000"/>
              </a:spcBef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Riassumendo l’encefalopatia epatica riconosce una genesi multifattoriale e oltre all’ammoniaca diversi fattori sembrano concorrere allo sviluppo dell’encefalopatia epatica, in particolare:</a:t>
            </a: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ct val="3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Alterazione del microbiota intestinale e la 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</a:rPr>
              <a:t>s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  <a:latin typeface="+mn-lt"/>
              </a:rPr>
              <a:t>ovracrescita</a:t>
            </a:r>
            <a:r>
              <a:rPr lang="it-IT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 batterica.</a:t>
            </a:r>
          </a:p>
          <a:p>
            <a:pPr marL="285750" indent="-285750" algn="just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Traslocazione batterica intestinale </a:t>
            </a:r>
          </a:p>
          <a:p>
            <a:pPr marL="285750" indent="-285750" algn="just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latin typeface="+mn-lt"/>
              </a:rPr>
              <a:t>Infiammazione sistemica e l’endotossiemia </a:t>
            </a:r>
          </a:p>
          <a:p>
            <a:pPr algn="just">
              <a:spcBef>
                <a:spcPct val="30000"/>
              </a:spcBef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Sulla base di queste recenti evidenze è oggi impostato il moderno approccio terapeutico all’encefalopatia epatica, che mette al centro il ruolo dell’intestino e il microbiota intestinale.</a:t>
            </a:r>
            <a:r>
              <a:rPr lang="it-IT" sz="1200" u="sng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 </a:t>
            </a:r>
            <a:endParaRPr lang="it-IT" sz="1200" dirty="0">
              <a:solidFill>
                <a:schemeClr val="tx2">
                  <a:lumMod val="50000"/>
                </a:schemeClr>
              </a:solidFill>
              <a:latin typeface="+mn-lt"/>
            </a:endParaRPr>
          </a:p>
          <a:p>
            <a:pPr algn="just">
              <a:spcBef>
                <a:spcPct val="30000"/>
              </a:spcBef>
              <a:defRPr/>
            </a:pP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In questo contesto il trattamento con la 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rifaximina</a:t>
            </a: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 si caratterizza per l’effetto sull’asse intestino fegato. In particolare la 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rifaximina</a:t>
            </a: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 riduce l'endotossiemia e l'infiammazione sia direttamente che indirettamente, riducendo la traslocazione batterica, contrastando la 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sovracrescita</a:t>
            </a: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 batterica e modulando la composizione e la funzione del microbiota intestinale. Questa azione di riduzione dell’endotossiemia da parte di </a:t>
            </a:r>
            <a:r>
              <a:rPr lang="it-IT" sz="1200" dirty="0" err="1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rifaximina</a:t>
            </a:r>
            <a:r>
              <a:rPr lang="it-IT" sz="1200" dirty="0">
                <a:solidFill>
                  <a:schemeClr val="tx2">
                    <a:lumMod val="50000"/>
                  </a:schemeClr>
                </a:solidFill>
                <a:highlight>
                  <a:srgbClr val="FFFF00"/>
                </a:highlight>
                <a:latin typeface="+mn-lt"/>
              </a:rPr>
              <a:t> si traduce quindi in una riduzione della mortalità attraverso la riduzione dell’infiammazione e della disfunzione immunitaria e delle infezioni che come abbiamo visto sono fattori precipitanti che portano agli episodi di scompenso. </a:t>
            </a:r>
            <a:endParaRPr lang="it-IT" altLang="it-IT" dirty="0"/>
          </a:p>
        </p:txBody>
      </p:sp>
      <p:sp>
        <p:nvSpPr>
          <p:cNvPr id="154628" name="Segnaposto numero diapositiva 3">
            <a:extLst>
              <a:ext uri="{FF2B5EF4-FFF2-40B4-BE49-F238E27FC236}">
                <a16:creationId xmlns="" xmlns:a16="http://schemas.microsoft.com/office/drawing/2014/main" id="{F8695AE4-6E4B-4AF8-9E19-D281C61BCF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7FBD6451-AF48-403D-9E97-F322518DE387}" type="slidenum">
              <a:rPr lang="it-IT" altLang="it-IT" smtClean="0"/>
              <a:pPr/>
              <a:t>23</a:t>
            </a:fld>
            <a:endParaRPr lang="it-IT" altLang="it-IT"/>
          </a:p>
        </p:txBody>
      </p:sp>
    </p:spTree>
    <p:extLst>
      <p:ext uri="{BB962C8B-B14F-4D97-AF65-F5344CB8AC3E}">
        <p14:creationId xmlns="" xmlns:p14="http://schemas.microsoft.com/office/powerpoint/2010/main" val="33883563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Segnaposto immagine diapositiva 1">
            <a:extLst>
              <a:ext uri="{FF2B5EF4-FFF2-40B4-BE49-F238E27FC236}">
                <a16:creationId xmlns="" xmlns:a16="http://schemas.microsoft.com/office/drawing/2014/main" id="{D0251A16-9AF2-4382-880E-7F362337D3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65225" y="1241425"/>
            <a:ext cx="4467225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883" name="Segnaposto note 2">
            <a:extLst>
              <a:ext uri="{FF2B5EF4-FFF2-40B4-BE49-F238E27FC236}">
                <a16:creationId xmlns="" xmlns:a16="http://schemas.microsoft.com/office/drawing/2014/main" id="{974DC91E-8800-4C2F-8A00-1AF871CF31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/>
              <a:t>Relativamente all’infiammazione sistemica nei pazienti cirrotici con encefalopatia epatica vi segnalo lo studio </a:t>
            </a:r>
            <a:r>
              <a:rPr lang="it-IT" sz="1200" b="1" dirty="0" err="1"/>
              <a:t>rifsys</a:t>
            </a:r>
            <a:r>
              <a:rPr lang="it-IT" sz="1200" b="1" dirty="0"/>
              <a:t> uno studio randomizzato in doppio cieco vs placebo dove oltre a fattori clinici sono stati analizzati anche fattori meccanicistici che riguardano il processo infiammatorio in questa tipologia di pazienti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iduzione del 50% della produzione spontanea di specie reattive dell'ossigeno (ROS) 30 gg dopo l'inizio della terapia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200" b="1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200" b="1" dirty="0"/>
              <a:t>La  </a:t>
            </a:r>
            <a:r>
              <a:rPr lang="it-IT" sz="1200" b="1" dirty="0" err="1"/>
              <a:t>rifaximina</a:t>
            </a:r>
            <a:r>
              <a:rPr lang="it-IT" sz="1200" b="1" dirty="0"/>
              <a:t>-</a:t>
            </a:r>
            <a:r>
              <a:rPr lang="el-GR" sz="1200" b="1" dirty="0"/>
              <a:t>α</a:t>
            </a:r>
            <a:r>
              <a:rPr lang="it-IT" sz="1200" b="1" dirty="0"/>
              <a:t> sopprime i batteri intestinali che traslocano dalla bocca all'intestino e causano una disfunzione della parete intestinale abbattendo la barriera protettiva del muco</a:t>
            </a:r>
            <a:r>
              <a:rPr lang="it-IT" sz="1200" dirty="0"/>
              <a:t>. Questa soppressione risolve l'encefalopatia e riduce l'infiammazione nel sangue, prevenendo lo sviluppo delle infezioni.</a:t>
            </a:r>
          </a:p>
          <a:p>
            <a:r>
              <a:rPr lang="it-IT" sz="1200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Studio randomizzato in Doppio Cieco Controllato Vs Placebo</a:t>
            </a:r>
          </a:p>
          <a:p>
            <a:r>
              <a:rPr lang="it-IT" sz="1200" b="1" u="sng" dirty="0"/>
              <a:t>Metodi: </a:t>
            </a:r>
            <a:r>
              <a:rPr lang="it-IT" sz="1200" dirty="0" err="1"/>
              <a:t>Rifaximina</a:t>
            </a:r>
            <a:r>
              <a:rPr lang="it-IT" sz="1200" dirty="0"/>
              <a:t>-</a:t>
            </a:r>
            <a:r>
              <a:rPr lang="el-GR" sz="1200" dirty="0"/>
              <a:t>α</a:t>
            </a:r>
            <a:r>
              <a:rPr lang="it-IT" sz="1200" dirty="0"/>
              <a:t> </a:t>
            </a:r>
            <a:r>
              <a:rPr lang="el-GR" sz="1200" dirty="0"/>
              <a:t>550</a:t>
            </a:r>
            <a:r>
              <a:rPr lang="it-IT" sz="1200" dirty="0"/>
              <a:t>mg X 2 die 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versus placebo :</a:t>
            </a:r>
          </a:p>
          <a:p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Arruolati  38 pazienti ( 19 </a:t>
            </a:r>
            <a:r>
              <a:rPr lang="it-IT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Rifa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vs 19 placebo) con cirrosi e OHE persistente o con </a:t>
            </a:r>
            <a:r>
              <a:rPr lang="it-IT" sz="1200" dirty="0"/>
              <a:t>≥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2  episodi di </a:t>
            </a:r>
            <a:r>
              <a:rPr lang="it-IT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Overt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(OHE) nei 6 mesi precedenti</a:t>
            </a:r>
          </a:p>
          <a:p>
            <a:r>
              <a:rPr lang="it-IT" sz="12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dpoint primario</a:t>
            </a:r>
          </a:p>
          <a:p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Riduzione del 50% della produzione spontanea di specie reattive dell'ossigeno (ROS) 30 gg dopo l'inizio della terapia.</a:t>
            </a:r>
          </a:p>
          <a:p>
            <a:r>
              <a:rPr lang="it-IT" sz="1200" b="1" u="sng" dirty="0">
                <a:solidFill>
                  <a:schemeClr val="tx1">
                    <a:lumMod val="95000"/>
                    <a:lumOff val="5000"/>
                  </a:schemeClr>
                </a:solidFill>
              </a:rPr>
              <a:t>Endpoint secondari</a:t>
            </a:r>
          </a:p>
          <a:p>
            <a:r>
              <a:rPr lang="it-IT" sz="1200" b="1" dirty="0">
                <a:solidFill>
                  <a:schemeClr val="tx1">
                    <a:lumMod val="95000"/>
                    <a:lumOff val="5000"/>
                  </a:schemeClr>
                </a:solidFill>
              </a:rPr>
              <a:t>Clinici: 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grado HE, PHES (</a:t>
            </a:r>
            <a:r>
              <a:rPr lang="it-IT" dirty="0" err="1"/>
              <a:t>Psychometric</a:t>
            </a:r>
            <a:r>
              <a:rPr lang="it-IT" dirty="0"/>
              <a:t> </a:t>
            </a:r>
            <a:r>
              <a:rPr lang="it-IT" dirty="0" err="1"/>
              <a:t>Hepatic</a:t>
            </a:r>
            <a:r>
              <a:rPr lang="it-IT" dirty="0"/>
              <a:t> </a:t>
            </a:r>
            <a:r>
              <a:rPr lang="it-IT" dirty="0" err="1"/>
              <a:t>Encephalopathy</a:t>
            </a:r>
            <a:r>
              <a:rPr lang="it-IT" dirty="0"/>
              <a:t> Score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), </a:t>
            </a:r>
            <a:r>
              <a:rPr lang="it-IT" sz="1200" dirty="0" err="1">
                <a:solidFill>
                  <a:schemeClr val="tx1">
                    <a:lumMod val="95000"/>
                    <a:lumOff val="5000"/>
                  </a:schemeClr>
                </a:solidFill>
              </a:rPr>
              <a:t>HRQoL</a:t>
            </a:r>
            <a:r>
              <a:rPr lang="it-IT" sz="12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e l'incidenza di infezione e insufficienza d'organo a 30 e 90 giorni.</a:t>
            </a:r>
            <a:r>
              <a:rPr lang="it-IT" sz="14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it-IT" sz="1200" dirty="0"/>
          </a:p>
          <a:p>
            <a:pPr>
              <a:defRPr/>
            </a:pPr>
            <a:endParaRPr lang="it-IT" altLang="it-IT" dirty="0"/>
          </a:p>
        </p:txBody>
      </p:sp>
      <p:sp>
        <p:nvSpPr>
          <p:cNvPr id="154628" name="Segnaposto numero diapositiva 3">
            <a:extLst>
              <a:ext uri="{FF2B5EF4-FFF2-40B4-BE49-F238E27FC236}">
                <a16:creationId xmlns="" xmlns:a16="http://schemas.microsoft.com/office/drawing/2014/main" id="{F8695AE4-6E4B-4AF8-9E19-D281C61BCF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7FBD6451-AF48-403D-9E97-F322518DE387}" type="slidenum">
              <a:rPr lang="it-IT" altLang="it-IT" smtClean="0"/>
              <a:pPr/>
              <a:t>26</a:t>
            </a:fld>
            <a:endParaRPr lang="it-IT" altLang="it-IT"/>
          </a:p>
        </p:txBody>
      </p:sp>
    </p:spTree>
    <p:extLst>
      <p:ext uri="{BB962C8B-B14F-4D97-AF65-F5344CB8AC3E}">
        <p14:creationId xmlns="" xmlns:p14="http://schemas.microsoft.com/office/powerpoint/2010/main" val="14947277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Segnaposto immagine diapositiva 1">
            <a:extLst>
              <a:ext uri="{FF2B5EF4-FFF2-40B4-BE49-F238E27FC236}">
                <a16:creationId xmlns:a16="http://schemas.microsoft.com/office/drawing/2014/main" xmlns="" id="{D0251A16-9AF2-4382-880E-7F362337D3B8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1165225" y="1241425"/>
            <a:ext cx="4467225" cy="3349625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22883" name="Segnaposto note 2">
            <a:extLst>
              <a:ext uri="{FF2B5EF4-FFF2-40B4-BE49-F238E27FC236}">
                <a16:creationId xmlns:a16="http://schemas.microsoft.com/office/drawing/2014/main" xmlns="" id="{974DC91E-8800-4C2F-8A00-1AF871CF31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it-IT" altLang="it-IT" dirty="0"/>
              <a:t>Tra i vari risultati di questo studio vi riporto quelli meccanicistici che risultano molto interessanti poiché provano effettivamente l’efficacia di </a:t>
            </a:r>
            <a:r>
              <a:rPr lang="it-IT" altLang="it-IT" dirty="0" err="1"/>
              <a:t>rifaximina</a:t>
            </a:r>
            <a:r>
              <a:rPr lang="it-IT" altLang="it-IT" dirty="0"/>
              <a:t> sulla riduzione di fattori infiammatori sistemici</a:t>
            </a:r>
          </a:p>
        </p:txBody>
      </p:sp>
      <p:sp>
        <p:nvSpPr>
          <p:cNvPr id="154628" name="Segnaposto numero diapositiva 3">
            <a:extLst>
              <a:ext uri="{FF2B5EF4-FFF2-40B4-BE49-F238E27FC236}">
                <a16:creationId xmlns:a16="http://schemas.microsoft.com/office/drawing/2014/main" xmlns="" id="{F8695AE4-6E4B-4AF8-9E19-D281C61BCFB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7FBD6451-AF48-403D-9E97-F322518DE387}" type="slidenum">
              <a:rPr lang="it-IT" altLang="it-IT" smtClean="0"/>
              <a:pPr/>
              <a:t>27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xmlns="" val="2971240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2.png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Utterly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ggetto 5" hidden="1">
            <a:extLst>
              <a:ext uri="{FF2B5EF4-FFF2-40B4-BE49-F238E27FC236}">
                <a16:creationId xmlns:a16="http://schemas.microsoft.com/office/drawing/2014/main" xmlns="" id="{BE32F2C2-2A8B-4D35-A5F8-4035C531E67C}"/>
              </a:ext>
            </a:extLst>
          </p:cNvPr>
          <p:cNvGraphicFramePr>
            <a:graphicFrameLocks noChangeAspect="1"/>
          </p:cNvGraphicFramePr>
          <p:nvPr userDrawn="1"/>
        </p:nvGraphicFramePr>
        <p:xfrm>
          <a:off x="1590" y="1588"/>
          <a:ext cx="1588" cy="1588"/>
        </p:xfrm>
        <a:graphic>
          <a:graphicData uri="http://schemas.openxmlformats.org/presentationml/2006/ole">
            <p:oleObj spid="_x0000_s1026" name="Diapositiva think-cell" r:id="rId4" imgW="360" imgH="360" progId="">
              <p:embed/>
            </p:oleObj>
          </a:graphicData>
        </a:graphic>
      </p:graphicFrame>
      <p:sp>
        <p:nvSpPr>
          <p:cNvPr id="5" name="Rettangolo 4" hidden="1">
            <a:extLst>
              <a:ext uri="{FF2B5EF4-FFF2-40B4-BE49-F238E27FC236}">
                <a16:creationId xmlns:a16="http://schemas.microsoft.com/office/drawing/2014/main" xmlns="" id="{2AFBA129-48FC-4DB2-B49A-4111CE2EA92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it-IT" sz="1650" b="0" i="0" baseline="0">
              <a:latin typeface="Segoe UI Light" panose="020B0502040204020203" pitchFamily="34" charset="0"/>
              <a:ea typeface="+mj-ea"/>
              <a:cs typeface="Segoe UI Light" panose="020B0502040204020203" pitchFamily="34" charset="0"/>
              <a:sym typeface="Segoe UI Light" panose="020B0502040204020203" pitchFamily="34" charset="0"/>
            </a:endParaRPr>
          </a:p>
        </p:txBody>
      </p:sp>
      <p:pic>
        <p:nvPicPr>
          <p:cNvPr id="2" name="Graphique 1">
            <a:extLst>
              <a:ext uri="{FF2B5EF4-FFF2-40B4-BE49-F238E27FC236}">
                <a16:creationId xmlns:a16="http://schemas.microsoft.com/office/drawing/2014/main" xmlns="" id="{00BEF6B9-7CF7-AD4D-9BD8-DD59844438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359378" y="273894"/>
            <a:ext cx="232641" cy="42682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xmlns="" id="{5654CB0F-3CD9-4441-AAA2-6FDC10CAA3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5800" y="279968"/>
            <a:ext cx="7772400" cy="426823"/>
          </a:xfrm>
        </p:spPr>
        <p:txBody>
          <a:bodyPr vert="horz">
            <a:normAutofit/>
          </a:bodyPr>
          <a:lstStyle>
            <a:lvl1pPr>
              <a:defRPr sz="1650">
                <a:solidFill>
                  <a:schemeClr val="tx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it-IT"/>
              <a:t>FARE CLIC PER MODIFICARE LO STILE DEL TITOLO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276724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37635022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93843B9-16EA-479C-A6B8-BA9798F997B3}" type="datetimeFigureOut">
              <a:rPr lang="it-IT" smtClean="0"/>
              <a:pPr/>
              <a:t>29/05/2023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E52F3D8-5D6E-4FF0-BE03-F71D02A5927E}" type="slidenum">
              <a:rPr lang="it-IT" smtClean="0"/>
              <a:pPr/>
              <a:t>‹N›</a:t>
            </a:fld>
            <a:endParaRPr lang="it-IT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3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8.png"/><Relationship Id="rId4" Type="http://schemas.openxmlformats.org/officeDocument/2006/relationships/image" Target="../media/image37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62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png"/><Relationship Id="rId1" Type="http://schemas.openxmlformats.org/officeDocument/2006/relationships/slideLayout" Target="../slideLayouts/slideLayout4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2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5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svg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57159" t="14951" r="13308" b="29364"/>
          <a:stretch>
            <a:fillRect/>
          </a:stretch>
        </p:blipFill>
        <p:spPr bwMode="auto">
          <a:xfrm>
            <a:off x="0" y="0"/>
            <a:ext cx="9144000" cy="5445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0" y="5445224"/>
            <a:ext cx="9144000" cy="1412776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’infiammazione sistemica nella cirrosi epatica : </a:t>
            </a:r>
          </a:p>
          <a:p>
            <a:pPr algn="ctr"/>
            <a:r>
              <a:rPr lang="it-IT" sz="2400" b="1" dirty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</a:t>
            </a:r>
            <a:r>
              <a:rPr lang="it-IT" sz="2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biamo le armi per curarla ? </a:t>
            </a:r>
          </a:p>
          <a:p>
            <a:pPr algn="ctr"/>
            <a:endParaRPr lang="it-IT" sz="2400" b="1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it-IT" sz="2400" b="1" dirty="0" smtClean="0">
                <a:solidFill>
                  <a:schemeClr val="tx2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aetano Scifo </a:t>
            </a:r>
            <a:endParaRPr lang="it-IT" sz="2400" b="1" dirty="0">
              <a:solidFill>
                <a:schemeClr val="tx2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50C5DC"/>
          </a:solidFill>
          <a:ln>
            <a:solidFill>
              <a:srgbClr val="36BBD6"/>
            </a:solidFill>
          </a:ln>
        </p:spPr>
        <p:txBody>
          <a:bodyPr/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DICT STUDY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7782" t="21315" r="21362" b="10272"/>
          <a:stretch>
            <a:fillRect/>
          </a:stretch>
        </p:blipFill>
        <p:spPr bwMode="auto">
          <a:xfrm>
            <a:off x="467544" y="1628800"/>
            <a:ext cx="8208912" cy="4536504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220072" y="6381328"/>
            <a:ext cx="3456384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Trebicka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J. 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 73 , 2020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6456" t="25630" r="46204" b="10946"/>
          <a:stretch>
            <a:fillRect/>
          </a:stretch>
        </p:blipFill>
        <p:spPr bwMode="auto">
          <a:xfrm>
            <a:off x="539552" y="1484784"/>
            <a:ext cx="8208912" cy="4680520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467544" y="188640"/>
            <a:ext cx="8352928" cy="1152128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Autofit/>
          </a:bodyPr>
          <a:lstStyle/>
          <a:p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idence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tality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r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plantation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LD</a:t>
            </a:r>
            <a:endParaRPr lang="it-IT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Rettangolo arrotondato 3"/>
          <p:cNvSpPr/>
          <p:nvPr/>
        </p:nvSpPr>
        <p:spPr>
          <a:xfrm>
            <a:off x="5076056" y="6381328"/>
            <a:ext cx="3672408" cy="360040"/>
          </a:xfrm>
          <a:prstGeom prst="round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Costa D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74 , 2021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8640960" cy="1228998"/>
          </a:xfrm>
          <a:solidFill>
            <a:srgbClr val="36BBD6"/>
          </a:solidFill>
        </p:spPr>
        <p:txBody>
          <a:bodyPr>
            <a:normAutofit/>
          </a:bodyPr>
          <a:lstStyle/>
          <a:p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rease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ros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ge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LD </a:t>
            </a:r>
            <a:b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rrelate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ion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tality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8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7938" t="14951" r="9728" b="3908"/>
          <a:stretch>
            <a:fillRect/>
          </a:stretch>
        </p:blipFill>
        <p:spPr bwMode="auto">
          <a:xfrm>
            <a:off x="467544" y="1556792"/>
            <a:ext cx="8208912" cy="4752528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148064" y="6453336"/>
            <a:ext cx="3672408" cy="288032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Costa D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 74 , 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xmlns="" id="{63EB67E0-1DA6-43E3-BB85-5187243EA4D3}"/>
              </a:ext>
            </a:extLst>
          </p:cNvPr>
          <p:cNvSpPr/>
          <p:nvPr/>
        </p:nvSpPr>
        <p:spPr>
          <a:xfrm>
            <a:off x="4355976" y="6378768"/>
            <a:ext cx="4449783" cy="584775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i="1" dirty="0" err="1">
                <a:solidFill>
                  <a:schemeClr val="tx2">
                    <a:lumMod val="75000"/>
                  </a:schemeClr>
                </a:solidFill>
                <a:latin typeface="+mj-lt"/>
              </a:rPr>
              <a:t>Albillos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 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A. at 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al, Nature 112 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 February 2022 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I 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  <a:latin typeface="+mj-lt"/>
              </a:rPr>
              <a:t>Vol. </a:t>
            </a:r>
            <a:r>
              <a:rPr lang="en-US" sz="1600" b="1" i="1" dirty="0">
                <a:solidFill>
                  <a:schemeClr val="tx2">
                    <a:lumMod val="75000"/>
                  </a:schemeClr>
                </a:solidFill>
                <a:latin typeface="+mj-lt"/>
              </a:rPr>
              <a:t>19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  <a:latin typeface="+mj-lt"/>
            </a:endParaRPr>
          </a:p>
        </p:txBody>
      </p:sp>
      <p:cxnSp>
        <p:nvCxnSpPr>
          <p:cNvPr id="9" name="Connettore 1 6">
            <a:extLst>
              <a:ext uri="{FF2B5EF4-FFF2-40B4-BE49-F238E27FC236}">
                <a16:creationId xmlns:a16="http://schemas.microsoft.com/office/drawing/2014/main" xmlns="" id="{139A24F7-7068-486D-9D61-FF37F03A99EC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Immagine 1">
            <a:extLst>
              <a:ext uri="{FF2B5EF4-FFF2-40B4-BE49-F238E27FC236}">
                <a16:creationId xmlns:a16="http://schemas.microsoft.com/office/drawing/2014/main" xmlns="" id="{39BACAF5-F523-46AC-935A-A853B612C24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928602" y="1245909"/>
            <a:ext cx="3051356" cy="2942573"/>
          </a:xfrm>
          <a:prstGeom prst="rect">
            <a:avLst/>
          </a:prstGeom>
        </p:spPr>
      </p:pic>
      <p:pic>
        <p:nvPicPr>
          <p:cNvPr id="3" name="Immagine 2">
            <a:extLst>
              <a:ext uri="{FF2B5EF4-FFF2-40B4-BE49-F238E27FC236}">
                <a16:creationId xmlns:a16="http://schemas.microsoft.com/office/drawing/2014/main" xmlns="" id="{5A7F39D1-F0ED-4815-BFEA-080D13E9259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/>
          <a:srcRect r="7447"/>
          <a:stretch/>
        </p:blipFill>
        <p:spPr>
          <a:xfrm>
            <a:off x="164043" y="1245909"/>
            <a:ext cx="5683666" cy="3329515"/>
          </a:xfrm>
          <a:prstGeom prst="rect">
            <a:avLst/>
          </a:prstGeom>
        </p:spPr>
      </p:pic>
      <p:sp>
        <p:nvSpPr>
          <p:cNvPr id="8" name="CasellaDiTesto 7">
            <a:extLst>
              <a:ext uri="{FF2B5EF4-FFF2-40B4-BE49-F238E27FC236}">
                <a16:creationId xmlns:a16="http://schemas.microsoft.com/office/drawing/2014/main" xmlns="" id="{4D80EDE3-8749-4045-B185-AA8E8ACC51D6}"/>
              </a:ext>
            </a:extLst>
          </p:cNvPr>
          <p:cNvSpPr txBox="1"/>
          <p:nvPr/>
        </p:nvSpPr>
        <p:spPr>
          <a:xfrm>
            <a:off x="298830" y="4797152"/>
            <a:ext cx="8506928" cy="1477328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r>
              <a:rPr kumimoji="0" lang="it-IT" altLang="it-IT" sz="1800" b="1" i="0" u="sng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I picchi di infiammazione </a:t>
            </a:r>
            <a:r>
              <a:rPr kumimoji="0" lang="it-IT" altLang="it-IT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dovuti a fattori infettivi (come le infezioni batteriche) o non infettivi (come l'alcol) peggiorano la disfunzione circolatoria sistemica e contribuiscono alla precipitazione degli episodi di scompenso acuto (come ascite, danno renale acuto ed encefalopatia) nella cirrosi scompensata </a:t>
            </a:r>
            <a:r>
              <a:rPr kumimoji="0" lang="it-IT" altLang="it-IT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tabile e la disfunzione immunitaria che aumenta criticamente il rischio di infezioni . </a:t>
            </a:r>
            <a:endParaRPr lang="it-IT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251520" y="116632"/>
            <a:ext cx="8568952" cy="1008112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nd dell’infiammazione nella cirrosi 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238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640960" cy="115212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hophysiological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aradigma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0312" t="32452" r="29416" b="24591"/>
          <a:stretch>
            <a:fillRect/>
          </a:stretch>
        </p:blipFill>
        <p:spPr bwMode="auto">
          <a:xfrm>
            <a:off x="323528" y="1988840"/>
            <a:ext cx="8424936" cy="446449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4427984" y="6525344"/>
            <a:ext cx="4392488" cy="332656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50000"/>
                  </a:schemeClr>
                </a:solidFill>
              </a:rPr>
              <a:t>Engelman</a:t>
            </a:r>
            <a:r>
              <a:rPr lang="it-IT" sz="1600" b="1" i="1" dirty="0" smtClean="0">
                <a:solidFill>
                  <a:schemeClr val="tx2">
                    <a:lumMod val="50000"/>
                  </a:schemeClr>
                </a:solidFill>
              </a:rPr>
              <a:t> C., Bernardi M. </a:t>
            </a:r>
            <a:r>
              <a:rPr lang="it-IT" sz="1600" b="1" i="1" dirty="0" err="1" smtClean="0">
                <a:solidFill>
                  <a:schemeClr val="tx2">
                    <a:lumMod val="50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50000"/>
                  </a:schemeClr>
                </a:solidFill>
              </a:rPr>
              <a:t> al, J </a:t>
            </a:r>
            <a:r>
              <a:rPr lang="it-IT" sz="1600" b="1" i="1" dirty="0" err="1" smtClean="0">
                <a:solidFill>
                  <a:schemeClr val="tx2">
                    <a:lumMod val="50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50000"/>
                  </a:schemeClr>
                </a:solidFill>
              </a:rPr>
              <a:t> 2021 </a:t>
            </a:r>
            <a:endParaRPr lang="it-IT" sz="1600" b="1" i="1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323528" y="1340768"/>
            <a:ext cx="8424936" cy="57606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planchn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/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ystem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vasodilata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yperdynam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ircula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ystem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flamma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itochondria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dysfunc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xidativ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stress and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etabol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hang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 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Freccia a destra 7"/>
          <p:cNvSpPr/>
          <p:nvPr/>
        </p:nvSpPr>
        <p:spPr>
          <a:xfrm rot="14279152">
            <a:off x="3701138" y="5145233"/>
            <a:ext cx="636541" cy="288032"/>
          </a:xfrm>
          <a:prstGeom prst="right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Freccia a destra 8"/>
          <p:cNvSpPr/>
          <p:nvPr/>
        </p:nvSpPr>
        <p:spPr>
          <a:xfrm rot="18383677">
            <a:off x="5561727" y="5164102"/>
            <a:ext cx="720054" cy="247088"/>
          </a:xfrm>
          <a:prstGeom prst="right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856984" cy="1224136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bolic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teration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0312" t="14951" r="30311" b="10272"/>
          <a:stretch>
            <a:fillRect/>
          </a:stretch>
        </p:blipFill>
        <p:spPr bwMode="auto">
          <a:xfrm>
            <a:off x="179512" y="1484784"/>
            <a:ext cx="5040560" cy="518457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364088" y="3212976"/>
            <a:ext cx="3672408" cy="1584176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p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or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dition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llular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jurj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tochondria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come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ysfunctional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ll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hif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rom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ducing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TP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y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pPr algn="ctr"/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XPHOS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erobic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i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lycolysis</a:t>
            </a:r>
            <a:r>
              <a:rPr lang="it-IT" b="1" i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i="1" dirty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5364088" y="6309320"/>
            <a:ext cx="3672408" cy="360040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ngelman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C. , Bernardi M.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021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arrotondato 3"/>
          <p:cNvSpPr/>
          <p:nvPr/>
        </p:nvSpPr>
        <p:spPr>
          <a:xfrm>
            <a:off x="1043608" y="908720"/>
            <a:ext cx="7128792" cy="5184576"/>
          </a:xfrm>
          <a:prstGeom prst="round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400" b="1" i="1" u="sng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2400" b="1" i="1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u="sng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2400" b="1" i="1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u="sng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s</a:t>
            </a:r>
            <a:r>
              <a:rPr lang="it-IT" sz="2400" b="1" i="1" u="sng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major driver </a:t>
            </a:r>
          </a:p>
          <a:p>
            <a:pPr algn="ctr"/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progress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compensated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decompensated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cirrhosi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, th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recurrenc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AD and th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development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single MOF .</a:t>
            </a:r>
          </a:p>
          <a:p>
            <a:pPr algn="ctr"/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After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the first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episod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AD,                           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systemic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inflammat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follow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a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chronic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cours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         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transient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episode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reactivat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                  du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proinflammatory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precipitant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                                                                                        or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burst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translocat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                             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viabl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intestinal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bacteria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or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bacterial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product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.     </a:t>
            </a:r>
          </a:p>
          <a:p>
            <a:pPr algn="ctr"/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ACLF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i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th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extrem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express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endParaRPr lang="it-IT" sz="2400" b="1" i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sever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systemic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</a:rPr>
              <a:t>inflammat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</a:rPr>
              <a:t>  .</a:t>
            </a:r>
            <a:endParaRPr lang="it-IT" sz="24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ing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t-Live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x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t="22906" r="1673" b="10272"/>
          <a:stretch>
            <a:fillRect/>
          </a:stretch>
        </p:blipFill>
        <p:spPr bwMode="auto">
          <a:xfrm>
            <a:off x="467544" y="1700808"/>
            <a:ext cx="8271550" cy="46805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Ovale 3"/>
          <p:cNvSpPr/>
          <p:nvPr/>
        </p:nvSpPr>
        <p:spPr>
          <a:xfrm>
            <a:off x="6300192" y="4509120"/>
            <a:ext cx="648072" cy="576064"/>
          </a:xfrm>
          <a:prstGeom prst="ellipse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Ovale 4"/>
          <p:cNvSpPr/>
          <p:nvPr/>
        </p:nvSpPr>
        <p:spPr>
          <a:xfrm>
            <a:off x="3563888" y="5301208"/>
            <a:ext cx="648072" cy="576064"/>
          </a:xfrm>
          <a:prstGeom prst="ellipse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4716016" y="6453336"/>
            <a:ext cx="4104456" cy="40466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Albillo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.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Wies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R. , J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2017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’ possibile prevenire il primo     evento  di  scompenso ?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r="1673" b="726"/>
          <a:stretch>
            <a:fillRect/>
          </a:stretch>
        </p:blipFill>
        <p:spPr bwMode="auto">
          <a:xfrm>
            <a:off x="467544" y="1600200"/>
            <a:ext cx="8280920" cy="449309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4139952" y="6309320"/>
            <a:ext cx="4608512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Mandorfer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M.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Simbrunner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B.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Clin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Liver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Dis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5,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Freccia a destra 5"/>
          <p:cNvSpPr/>
          <p:nvPr/>
        </p:nvSpPr>
        <p:spPr>
          <a:xfrm>
            <a:off x="0" y="4437112"/>
            <a:ext cx="467544" cy="288032"/>
          </a:xfrm>
          <a:prstGeom prst="right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40960" cy="1156990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w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radigm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PSH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st PREDESCI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819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1600200"/>
            <a:ext cx="8640960" cy="5069160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6" name="Freccia in giù 5"/>
          <p:cNvSpPr/>
          <p:nvPr/>
        </p:nvSpPr>
        <p:spPr>
          <a:xfrm>
            <a:off x="5004048" y="3645024"/>
            <a:ext cx="288032" cy="288032"/>
          </a:xfrm>
          <a:prstGeom prst="down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Freccia in giù 6"/>
          <p:cNvSpPr/>
          <p:nvPr/>
        </p:nvSpPr>
        <p:spPr>
          <a:xfrm>
            <a:off x="6444208" y="3645024"/>
            <a:ext cx="288032" cy="288032"/>
          </a:xfrm>
          <a:prstGeom prst="down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Freccia in giù 7"/>
          <p:cNvSpPr/>
          <p:nvPr/>
        </p:nvSpPr>
        <p:spPr>
          <a:xfrm>
            <a:off x="7740352" y="3645024"/>
            <a:ext cx="288032" cy="288032"/>
          </a:xfrm>
          <a:prstGeom prst="down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>
            <a:extLst>
              <a:ext uri="{FF2B5EF4-FFF2-40B4-BE49-F238E27FC236}">
                <a16:creationId xmlns="" xmlns:a16="http://schemas.microsoft.com/office/drawing/2014/main" id="{670F447D-0085-416F-D6AD-0CAF46A8FBB7}"/>
              </a:ext>
            </a:extLst>
          </p:cNvPr>
          <p:cNvGrpSpPr>
            <a:grpSpLocks/>
          </p:cNvGrpSpPr>
          <p:nvPr/>
        </p:nvGrpSpPr>
        <p:grpSpPr bwMode="auto">
          <a:xfrm>
            <a:off x="1784350" y="2036763"/>
            <a:ext cx="4864100" cy="0"/>
            <a:chOff x="1784415" y="1572513"/>
            <a:chExt cx="4864521" cy="0"/>
          </a:xfrm>
        </p:grpSpPr>
        <p:cxnSp>
          <p:nvCxnSpPr>
            <p:cNvPr id="37" name="36 Conector recto de flecha">
              <a:extLst>
                <a:ext uri="{FF2B5EF4-FFF2-40B4-BE49-F238E27FC236}">
                  <a16:creationId xmlns="" xmlns:a16="http://schemas.microsoft.com/office/drawing/2014/main" id="{F91191E1-7EBF-7165-3499-C7D254A4728D}"/>
                </a:ext>
              </a:extLst>
            </p:cNvPr>
            <p:cNvCxnSpPr/>
            <p:nvPr/>
          </p:nvCxnSpPr>
          <p:spPr>
            <a:xfrm>
              <a:off x="1784415" y="1574100"/>
              <a:ext cx="358806" cy="0"/>
            </a:xfrm>
            <a:prstGeom prst="straightConnector1">
              <a:avLst/>
            </a:prstGeom>
            <a:ln>
              <a:noFill/>
              <a:prstDash val="dash"/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9" name="38 Conector recto de flecha">
              <a:extLst>
                <a:ext uri="{FF2B5EF4-FFF2-40B4-BE49-F238E27FC236}">
                  <a16:creationId xmlns="" xmlns:a16="http://schemas.microsoft.com/office/drawing/2014/main" id="{6C5FF383-262C-5BE4-FF3C-3F8C516CC959}"/>
                </a:ext>
              </a:extLst>
            </p:cNvPr>
            <p:cNvCxnSpPr/>
            <p:nvPr/>
          </p:nvCxnSpPr>
          <p:spPr>
            <a:xfrm>
              <a:off x="3714270" y="1574100"/>
              <a:ext cx="1162151" cy="0"/>
            </a:xfrm>
            <a:prstGeom prst="straightConnector1">
              <a:avLst/>
            </a:prstGeom>
            <a:ln>
              <a:noFill/>
              <a:prstDash val="dash"/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41" name="40 Conector recto de flecha">
              <a:extLst>
                <a:ext uri="{FF2B5EF4-FFF2-40B4-BE49-F238E27FC236}">
                  <a16:creationId xmlns="" xmlns:a16="http://schemas.microsoft.com/office/drawing/2014/main" id="{6B41EE12-BD43-477A-E26C-6035989A7A91}"/>
                </a:ext>
              </a:extLst>
            </p:cNvPr>
            <p:cNvCxnSpPr/>
            <p:nvPr/>
          </p:nvCxnSpPr>
          <p:spPr>
            <a:xfrm>
              <a:off x="6217099" y="1574100"/>
              <a:ext cx="431837" cy="0"/>
            </a:xfrm>
            <a:prstGeom prst="straightConnector1">
              <a:avLst/>
            </a:prstGeom>
            <a:ln>
              <a:noFill/>
              <a:prstDash val="dash"/>
              <a:tailEnd type="arrow"/>
            </a:ln>
            <a:scene3d>
              <a:camera prst="orthographicFront"/>
              <a:lightRig rig="threePt" dir="t"/>
            </a:scene3d>
            <a:sp3d>
              <a:bevelT/>
            </a:sp3d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</p:grpSp>
      <p:sp>
        <p:nvSpPr>
          <p:cNvPr id="45" name="39 CuadroTexto">
            <a:extLst>
              <a:ext uri="{FF2B5EF4-FFF2-40B4-BE49-F238E27FC236}">
                <a16:creationId xmlns="" xmlns:a16="http://schemas.microsoft.com/office/drawing/2014/main" id="{13BDA0AD-73BE-64A8-B69C-F8FC6C876EAA}"/>
              </a:ext>
            </a:extLst>
          </p:cNvPr>
          <p:cNvSpPr txBox="1"/>
          <p:nvPr/>
        </p:nvSpPr>
        <p:spPr>
          <a:xfrm>
            <a:off x="611560" y="4543721"/>
            <a:ext cx="7920880" cy="1015663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 anchor="ctr">
            <a:spAutoFit/>
          </a:bodyPr>
          <a:lstStyle/>
          <a:p>
            <a:pPr algn="ctr">
              <a:defRPr/>
            </a:pPr>
            <a:endParaRPr lang="en-US" dirty="0">
              <a:solidFill>
                <a:prstClr val="black"/>
              </a:solidFill>
              <a:latin typeface="Calibri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US" sz="24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Acute on chronic liver failure (ACLF)</a:t>
            </a:r>
          </a:p>
          <a:p>
            <a:pPr algn="ctr">
              <a:defRPr/>
            </a:pPr>
            <a:endParaRPr lang="en-US" dirty="0">
              <a:solidFill>
                <a:schemeClr val="tx2">
                  <a:lumMod val="75000"/>
                </a:schemeClr>
              </a:solidFill>
              <a:latin typeface="Calibri"/>
              <a:cs typeface="Arial" panose="020B0604020202020204" pitchFamily="34" charset="0"/>
            </a:endParaRPr>
          </a:p>
        </p:txBody>
      </p:sp>
      <p:sp>
        <p:nvSpPr>
          <p:cNvPr id="26630" name="Text Box 26">
            <a:extLst>
              <a:ext uri="{FF2B5EF4-FFF2-40B4-BE49-F238E27FC236}">
                <a16:creationId xmlns="" xmlns:a16="http://schemas.microsoft.com/office/drawing/2014/main" id="{2C437598-118A-904B-19D0-D46745E238F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03350" y="6115050"/>
            <a:ext cx="6264275" cy="369888"/>
          </a:xfrm>
          <a:prstGeom prst="rect">
            <a:avLst/>
          </a:prstGeom>
          <a:noFill/>
          <a:ln>
            <a:solidFill>
              <a:srgbClr val="36BBD6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ctr">
              <a:spcBef>
                <a:spcPct val="50000"/>
              </a:spcBef>
              <a:buFontTx/>
              <a:buNone/>
            </a:pPr>
            <a:r>
              <a:rPr lang="it-IT" altLang="it-IT" sz="1800" b="1" i="1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Adapted</a:t>
            </a:r>
            <a:r>
              <a:rPr lang="it-IT" altLang="it-IT" sz="1800" b="1" i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it-IT" altLang="it-IT" sz="1800" b="1" i="1" dirty="0" err="1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from</a:t>
            </a:r>
            <a:r>
              <a:rPr lang="it-IT" altLang="it-IT" sz="1800" b="1" i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</a:t>
            </a:r>
            <a:r>
              <a:rPr lang="it-IT" altLang="it-IT" sz="1800" b="1" i="1" dirty="0" err="1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Jalan</a:t>
            </a:r>
            <a:r>
              <a:rPr lang="it-IT" altLang="it-IT" sz="1800" b="1" i="1" dirty="0" smtClean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R.  </a:t>
            </a:r>
            <a:r>
              <a:rPr lang="it-IT" altLang="it-IT" sz="1800" b="1" i="1" dirty="0" err="1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et</a:t>
            </a:r>
            <a:r>
              <a:rPr lang="it-IT" altLang="it-IT" sz="1800" b="1" i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al. </a:t>
            </a:r>
            <a:r>
              <a:rPr lang="en-US" altLang="it-IT" sz="1800" b="1" i="1" dirty="0">
                <a:solidFill>
                  <a:schemeClr val="tx2">
                    <a:lumMod val="75000"/>
                  </a:schemeClr>
                </a:solidFill>
                <a:latin typeface="Calibri" panose="020F0502020204030204" pitchFamily="34" charset="0"/>
              </a:rPr>
              <a:t> Gastroenterology 2014 ; 147 : 4-10</a:t>
            </a:r>
            <a:endParaRPr lang="it-IT" altLang="it-IT" sz="1800" b="1" i="1" dirty="0">
              <a:solidFill>
                <a:schemeClr val="tx2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grpSp>
        <p:nvGrpSpPr>
          <p:cNvPr id="3" name="Gruppo 2">
            <a:extLst>
              <a:ext uri="{FF2B5EF4-FFF2-40B4-BE49-F238E27FC236}">
                <a16:creationId xmlns="" xmlns:a16="http://schemas.microsoft.com/office/drawing/2014/main" id="{FB3E4A08-E508-D1C0-E8BC-FC22D6161090}"/>
              </a:ext>
            </a:extLst>
          </p:cNvPr>
          <p:cNvGrpSpPr>
            <a:grpSpLocks/>
          </p:cNvGrpSpPr>
          <p:nvPr/>
        </p:nvGrpSpPr>
        <p:grpSpPr bwMode="auto">
          <a:xfrm>
            <a:off x="755576" y="3705225"/>
            <a:ext cx="6950149" cy="587871"/>
            <a:chOff x="897624" y="3705351"/>
            <a:chExt cx="6808101" cy="587871"/>
          </a:xfrm>
        </p:grpSpPr>
        <p:grpSp>
          <p:nvGrpSpPr>
            <p:cNvPr id="4" name="Gruppo 1">
              <a:extLst>
                <a:ext uri="{FF2B5EF4-FFF2-40B4-BE49-F238E27FC236}">
                  <a16:creationId xmlns="" xmlns:a16="http://schemas.microsoft.com/office/drawing/2014/main" id="{2710FA7D-6AA9-7C1F-E6FE-E1A1EBD402F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897624" y="3705351"/>
              <a:ext cx="6808101" cy="258766"/>
              <a:chOff x="897624" y="3457575"/>
              <a:chExt cx="6808101" cy="258766"/>
            </a:xfrm>
          </p:grpSpPr>
          <p:sp>
            <p:nvSpPr>
              <p:cNvPr id="35" name="34 Cheurón">
                <a:extLst>
                  <a:ext uri="{FF2B5EF4-FFF2-40B4-BE49-F238E27FC236}">
                    <a16:creationId xmlns="" xmlns:a16="http://schemas.microsoft.com/office/drawing/2014/main" id="{8925B48B-F26D-B9F7-CAEB-5164B2CFE1D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2890235" y="3310717"/>
                <a:ext cx="246956" cy="564291"/>
              </a:xfrm>
              <a:prstGeom prst="chevron">
                <a:avLst>
                  <a:gd name="adj" fmla="val 50000"/>
                </a:avLst>
              </a:prstGeom>
              <a:solidFill>
                <a:srgbClr val="36BBD6"/>
              </a:solidFill>
              <a:ln w="9525">
                <a:solidFill>
                  <a:srgbClr val="00005C"/>
                </a:solidFill>
                <a:miter lim="800000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s-ES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38" name="37 Cheurón">
                <a:extLst>
                  <a:ext uri="{FF2B5EF4-FFF2-40B4-BE49-F238E27FC236}">
                    <a16:creationId xmlns="" xmlns:a16="http://schemas.microsoft.com/office/drawing/2014/main" id="{ECFF55E2-E59B-A5F5-55F3-4DD2844DE6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5429542" y="3310716"/>
                <a:ext cx="246954" cy="564290"/>
              </a:xfrm>
              <a:prstGeom prst="chevron">
                <a:avLst>
                  <a:gd name="adj" fmla="val 50000"/>
                </a:avLst>
              </a:prstGeom>
              <a:solidFill>
                <a:srgbClr val="36BBD6"/>
              </a:solidFill>
              <a:ln w="9525">
                <a:solidFill>
                  <a:srgbClr val="00005C"/>
                </a:solidFill>
                <a:miter lim="800000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s-ES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40" name="39 Cheurón">
                <a:extLst>
                  <a:ext uri="{FF2B5EF4-FFF2-40B4-BE49-F238E27FC236}">
                    <a16:creationId xmlns="" xmlns:a16="http://schemas.microsoft.com/office/drawing/2014/main" id="{72AE19DB-FFA5-C06E-BE8E-32A38A72AA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7303293" y="3313907"/>
                <a:ext cx="258763" cy="546100"/>
              </a:xfrm>
              <a:prstGeom prst="chevron">
                <a:avLst>
                  <a:gd name="adj" fmla="val 50000"/>
                </a:avLst>
              </a:prstGeom>
              <a:solidFill>
                <a:srgbClr val="36BBD6"/>
              </a:solidFill>
              <a:ln w="9525">
                <a:solidFill>
                  <a:srgbClr val="00005C"/>
                </a:solidFill>
                <a:miter lim="800000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s-ES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  <p:sp>
            <p:nvSpPr>
              <p:cNvPr id="28" name="34 Cheurón">
                <a:extLst>
                  <a:ext uri="{FF2B5EF4-FFF2-40B4-BE49-F238E27FC236}">
                    <a16:creationId xmlns="" xmlns:a16="http://schemas.microsoft.com/office/drawing/2014/main" id="{11FB6351-7623-1FD5-25B2-49AB91B2E98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 rot="5400000">
                <a:off x="1056291" y="3310718"/>
                <a:ext cx="246955" cy="564290"/>
              </a:xfrm>
              <a:prstGeom prst="chevron">
                <a:avLst>
                  <a:gd name="adj" fmla="val 50000"/>
                </a:avLst>
              </a:prstGeom>
              <a:solidFill>
                <a:srgbClr val="36BBD6"/>
              </a:solidFill>
              <a:ln w="9525">
                <a:solidFill>
                  <a:srgbClr val="00005C"/>
                </a:solidFill>
                <a:miter lim="800000"/>
                <a:headEnd/>
                <a:tailEnd/>
              </a:ln>
              <a:effectLst>
                <a:outerShdw blurRad="40000" dist="23000" dir="5400000" rotWithShape="0">
                  <a:srgbClr val="000000">
                    <a:alpha val="34998"/>
                  </a:srgbClr>
                </a:outerShdw>
              </a:effectLst>
            </p:spPr>
            <p:txBody>
              <a:bodyPr anchor="ctr"/>
              <a:lstStyle/>
              <a:p>
                <a:pPr algn="ctr">
                  <a:defRPr/>
                </a:pPr>
                <a:endParaRPr lang="es-ES" dirty="0">
                  <a:solidFill>
                    <a:prstClr val="black"/>
                  </a:solidFill>
                  <a:latin typeface="Calibri"/>
                  <a:ea typeface="+mn-ea"/>
                </a:endParaRPr>
              </a:p>
            </p:txBody>
          </p:sp>
        </p:grpSp>
        <p:sp>
          <p:nvSpPr>
            <p:cNvPr id="25" name="37 Cheurón">
              <a:extLst>
                <a:ext uri="{FF2B5EF4-FFF2-40B4-BE49-F238E27FC236}">
                  <a16:creationId xmlns="" xmlns:a16="http://schemas.microsoft.com/office/drawing/2014/main" id="{71AFA246-0EEC-5840-56FC-5B8EC59E414D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409000" y="3867061"/>
              <a:ext cx="288032" cy="564289"/>
            </a:xfrm>
            <a:prstGeom prst="chevron">
              <a:avLst>
                <a:gd name="adj" fmla="val 50000"/>
              </a:avLst>
            </a:prstGeom>
            <a:solidFill>
              <a:srgbClr val="36BBD6"/>
            </a:solidFill>
            <a:ln w="9525">
              <a:solidFill>
                <a:srgbClr val="00005C"/>
              </a:solidFill>
              <a:miter lim="800000"/>
              <a:headEnd/>
              <a:tailEnd/>
            </a:ln>
            <a:effectLst>
              <a:outerShdw blurRad="40000" dist="23000" dir="5400000" rotWithShape="0">
                <a:srgbClr val="000000">
                  <a:alpha val="34998"/>
                </a:srgbClr>
              </a:outerShdw>
            </a:effectLst>
          </p:spPr>
          <p:txBody>
            <a:bodyPr anchor="ctr"/>
            <a:lstStyle/>
            <a:p>
              <a:pPr algn="ctr">
                <a:defRPr/>
              </a:pPr>
              <a:endParaRPr lang="es-ES" dirty="0">
                <a:solidFill>
                  <a:prstClr val="black"/>
                </a:solidFill>
                <a:latin typeface="Calibri"/>
                <a:ea typeface="+mn-ea"/>
              </a:endParaRPr>
            </a:p>
          </p:txBody>
        </p:sp>
      </p:grpSp>
      <p:sp>
        <p:nvSpPr>
          <p:cNvPr id="26633" name="CasellaDiTesto 1">
            <a:extLst>
              <a:ext uri="{FF2B5EF4-FFF2-40B4-BE49-F238E27FC236}">
                <a16:creationId xmlns="" xmlns:a16="http://schemas.microsoft.com/office/drawing/2014/main" id="{669EB7E0-D214-89E7-2DD2-CCCF09CAF16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11263" y="1844824"/>
            <a:ext cx="7132637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Courier New" panose="02070309020205020404" pitchFamily="49" charset="0"/>
              <a:buChar char="o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600">
                <a:solidFill>
                  <a:srgbClr val="7F7F7F"/>
                </a:solidFill>
                <a:latin typeface="Century Gothic" panose="020B050202020202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it-IT" altLang="it-IT" sz="1800">
              <a:solidFill>
                <a:schemeClr val="tx1"/>
              </a:solidFill>
              <a:latin typeface="Palatino Linotype" panose="02040502050505030304" pitchFamily="18" charset="0"/>
            </a:endParaRPr>
          </a:p>
        </p:txBody>
      </p:sp>
      <p:sp>
        <p:nvSpPr>
          <p:cNvPr id="30" name="3 Rectángulo">
            <a:extLst>
              <a:ext uri="{FF2B5EF4-FFF2-40B4-BE49-F238E27FC236}">
                <a16:creationId xmlns="" xmlns:a16="http://schemas.microsoft.com/office/drawing/2014/main" id="{9CBC0A73-6E85-93E8-639F-B44C684D54D0}"/>
              </a:ext>
            </a:extLst>
          </p:cNvPr>
          <p:cNvSpPr/>
          <p:nvPr/>
        </p:nvSpPr>
        <p:spPr bwMode="auto">
          <a:xfrm>
            <a:off x="654750" y="2306079"/>
            <a:ext cx="7840663" cy="863600"/>
          </a:xfrm>
          <a:prstGeom prst="rect">
            <a:avLst/>
          </a:prstGeom>
          <a:gradFill flip="none" rotWithShape="1">
            <a:gsLst>
              <a:gs pos="0">
                <a:srgbClr val="00FDFF"/>
              </a:gs>
              <a:gs pos="100000">
                <a:srgbClr val="FFFFFF"/>
              </a:gs>
            </a:gsLst>
            <a:path path="circle">
              <a:fillToRect l="100000" t="100000"/>
            </a:path>
            <a:tileRect r="-100000" b="-100000"/>
          </a:gradFill>
          <a:ln w="38100">
            <a:solidFill>
              <a:srgbClr val="36BBD6"/>
            </a:solidFill>
          </a:ln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ES" sz="140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14 CuadroTexto">
            <a:extLst>
              <a:ext uri="{FF2B5EF4-FFF2-40B4-BE49-F238E27FC236}">
                <a16:creationId xmlns="" xmlns:a16="http://schemas.microsoft.com/office/drawing/2014/main" id="{5EA7C291-ED6D-F738-1DB8-06375E1BAF0C}"/>
              </a:ext>
            </a:extLst>
          </p:cNvPr>
          <p:cNvSpPr txBox="1"/>
          <p:nvPr/>
        </p:nvSpPr>
        <p:spPr bwMode="auto">
          <a:xfrm>
            <a:off x="2147825" y="2449102"/>
            <a:ext cx="1614488" cy="46166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Compensated cirrhosis</a:t>
            </a:r>
          </a:p>
        </p:txBody>
      </p:sp>
      <p:sp>
        <p:nvSpPr>
          <p:cNvPr id="46" name="16 CuadroTexto">
            <a:extLst>
              <a:ext uri="{FF2B5EF4-FFF2-40B4-BE49-F238E27FC236}">
                <a16:creationId xmlns="" xmlns:a16="http://schemas.microsoft.com/office/drawing/2014/main" id="{21AD1B1F-FDFF-F16B-265C-37C1054665CD}"/>
              </a:ext>
            </a:extLst>
          </p:cNvPr>
          <p:cNvSpPr txBox="1"/>
          <p:nvPr/>
        </p:nvSpPr>
        <p:spPr bwMode="auto">
          <a:xfrm>
            <a:off x="4699700" y="2448954"/>
            <a:ext cx="1627188" cy="461963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Decompensated cirrhosis</a:t>
            </a:r>
          </a:p>
        </p:txBody>
      </p:sp>
      <p:sp>
        <p:nvSpPr>
          <p:cNvPr id="49" name="22 CuadroTexto">
            <a:extLst>
              <a:ext uri="{FF2B5EF4-FFF2-40B4-BE49-F238E27FC236}">
                <a16:creationId xmlns="" xmlns:a16="http://schemas.microsoft.com/office/drawing/2014/main" id="{5B4DAB27-B2C1-A6FD-D829-2D578851D05D}"/>
              </a:ext>
            </a:extLst>
          </p:cNvPr>
          <p:cNvSpPr txBox="1"/>
          <p:nvPr/>
        </p:nvSpPr>
        <p:spPr bwMode="auto">
          <a:xfrm>
            <a:off x="6463413" y="2448954"/>
            <a:ext cx="1943100" cy="460375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Further </a:t>
            </a:r>
            <a:b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</a:b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decompensated cirrhosis</a:t>
            </a:r>
          </a:p>
        </p:txBody>
      </p:sp>
      <p:sp>
        <p:nvSpPr>
          <p:cNvPr id="50" name="14 CuadroTexto">
            <a:extLst>
              <a:ext uri="{FF2B5EF4-FFF2-40B4-BE49-F238E27FC236}">
                <a16:creationId xmlns="" xmlns:a16="http://schemas.microsoft.com/office/drawing/2014/main" id="{6C93E13F-7C6C-37DD-95DC-29BC5804CB67}"/>
              </a:ext>
            </a:extLst>
          </p:cNvPr>
          <p:cNvSpPr txBox="1"/>
          <p:nvPr/>
        </p:nvSpPr>
        <p:spPr bwMode="auto">
          <a:xfrm>
            <a:off x="400750" y="2448954"/>
            <a:ext cx="1398588" cy="461962"/>
          </a:xfrm>
          <a:prstGeom prst="rect">
            <a:avLst/>
          </a:prstGeom>
          <a:noFill/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anchor="ctr">
            <a:spAutoFit/>
          </a:bodyPr>
          <a:lstStyle/>
          <a:p>
            <a:pPr algn="ctr">
              <a:defRPr/>
            </a:pPr>
            <a:r>
              <a:rPr lang="en-US" sz="12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  <a:cs typeface="Arial" panose="020B0604020202020204" pitchFamily="34" charset="0"/>
              </a:rPr>
              <a:t>Chronic liver disease</a:t>
            </a:r>
          </a:p>
        </p:txBody>
      </p:sp>
      <p:sp>
        <p:nvSpPr>
          <p:cNvPr id="31" name="Rettangolo 30"/>
          <p:cNvSpPr/>
          <p:nvPr/>
        </p:nvSpPr>
        <p:spPr>
          <a:xfrm>
            <a:off x="179512" y="188640"/>
            <a:ext cx="8784976" cy="1080120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ural</a:t>
            </a:r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story</a:t>
            </a:r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4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864096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eating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ysbios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5920" t="23324" r="24137" b="3333"/>
          <a:stretch>
            <a:fillRect/>
          </a:stretch>
        </p:blipFill>
        <p:spPr bwMode="auto">
          <a:xfrm>
            <a:off x="1259632" y="1124744"/>
            <a:ext cx="6696744" cy="561662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640960" cy="108012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MT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5782" t="19114" r="28833" b="24962"/>
          <a:stretch>
            <a:fillRect/>
          </a:stretch>
        </p:blipFill>
        <p:spPr bwMode="auto">
          <a:xfrm>
            <a:off x="395536" y="1484784"/>
            <a:ext cx="8568952" cy="482453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5580112" y="6453336"/>
            <a:ext cx="3384376" cy="288032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Suk KT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Gastroenter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021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67544" y="188640"/>
            <a:ext cx="8280920" cy="108012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pPr algn="ctr"/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crobiome-targeted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rapeutic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3348" t="22277" r="24063" b="8681"/>
          <a:stretch>
            <a:fillRect/>
          </a:stretch>
        </p:blipFill>
        <p:spPr bwMode="auto">
          <a:xfrm>
            <a:off x="467545" y="1700808"/>
            <a:ext cx="8208912" cy="4752529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683568" y="2204864"/>
            <a:ext cx="7776864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Rettangolo 4"/>
          <p:cNvSpPr/>
          <p:nvPr/>
        </p:nvSpPr>
        <p:spPr>
          <a:xfrm>
            <a:off x="1187624" y="3212976"/>
            <a:ext cx="6696744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ttangolo 5"/>
          <p:cNvSpPr/>
          <p:nvPr/>
        </p:nvSpPr>
        <p:spPr>
          <a:xfrm>
            <a:off x="2195736" y="3717032"/>
            <a:ext cx="4680520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="" xmlns:a16="http://schemas.microsoft.com/office/drawing/2014/main" id="{63EB67E0-1DA6-43E3-BB85-5187243EA4D3}"/>
              </a:ext>
            </a:extLst>
          </p:cNvPr>
          <p:cNvSpPr/>
          <p:nvPr/>
        </p:nvSpPr>
        <p:spPr>
          <a:xfrm>
            <a:off x="3347864" y="6378767"/>
            <a:ext cx="5457895" cy="338554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</a:rPr>
              <a:t>Ponziani FR et al . </a:t>
            </a:r>
            <a:r>
              <a:rPr lang="nl-NL" sz="1600" b="1" i="1" dirty="0">
                <a:solidFill>
                  <a:schemeClr val="tx2">
                    <a:lumMod val="75000"/>
                  </a:schemeClr>
                </a:solidFill>
              </a:rPr>
              <a:t>World J Gastroenterol 2015 November </a:t>
            </a:r>
            <a:r>
              <a:rPr lang="nl-NL" sz="1600" b="1" i="1" dirty="0" smtClean="0">
                <a:solidFill>
                  <a:schemeClr val="tx2">
                    <a:lumMod val="75000"/>
                  </a:schemeClr>
                </a:solidFill>
              </a:rPr>
              <a:t>21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9" name="Connettore 1 6">
            <a:extLst>
              <a:ext uri="{FF2B5EF4-FFF2-40B4-BE49-F238E27FC236}">
                <a16:creationId xmlns="" xmlns:a16="http://schemas.microsoft.com/office/drawing/2014/main" id="{139A24F7-7068-486D-9D61-FF37F03A99EC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2" name="Gruppo 1">
            <a:extLst>
              <a:ext uri="{FF2B5EF4-FFF2-40B4-BE49-F238E27FC236}">
                <a16:creationId xmlns="" xmlns:a16="http://schemas.microsoft.com/office/drawing/2014/main" id="{CD2905ED-0A8A-4F1B-B4DD-6B8DC98854D2}"/>
              </a:ext>
            </a:extLst>
          </p:cNvPr>
          <p:cNvGrpSpPr/>
          <p:nvPr/>
        </p:nvGrpSpPr>
        <p:grpSpPr>
          <a:xfrm>
            <a:off x="298830" y="1628800"/>
            <a:ext cx="4343374" cy="4464496"/>
            <a:chOff x="990757" y="1349662"/>
            <a:chExt cx="5791165" cy="4158579"/>
          </a:xfrm>
        </p:grpSpPr>
        <p:pic>
          <p:nvPicPr>
            <p:cNvPr id="153605" name="Immagine 9">
              <a:extLst>
                <a:ext uri="{FF2B5EF4-FFF2-40B4-BE49-F238E27FC236}">
                  <a16:creationId xmlns="" xmlns:a16="http://schemas.microsoft.com/office/drawing/2014/main" id="{CEABEE5C-780B-427A-9486-29D3C440DDA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757" y="1349662"/>
              <a:ext cx="5791165" cy="4158579"/>
            </a:xfrm>
            <a:prstGeom prst="rect">
              <a:avLst/>
            </a:prstGeom>
            <a:noFill/>
            <a:ln w="9525">
              <a:solidFill>
                <a:srgbClr val="36BBD6"/>
              </a:solidFill>
              <a:miter lim="800000"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" name="Gruppo 4">
              <a:extLst>
                <a:ext uri="{FF2B5EF4-FFF2-40B4-BE49-F238E27FC236}">
                  <a16:creationId xmlns="" xmlns:a16="http://schemas.microsoft.com/office/drawing/2014/main" id="{2FACF0F5-6C7A-4371-B27F-CA487EFA459C}"/>
                </a:ext>
              </a:extLst>
            </p:cNvPr>
            <p:cNvGrpSpPr/>
            <p:nvPr/>
          </p:nvGrpSpPr>
          <p:grpSpPr>
            <a:xfrm>
              <a:off x="1217461" y="2790563"/>
              <a:ext cx="1061279" cy="846774"/>
              <a:chOff x="6629399" y="2868929"/>
              <a:chExt cx="708662" cy="788671"/>
            </a:xfrm>
          </p:grpSpPr>
          <p:pic>
            <p:nvPicPr>
              <p:cNvPr id="11" name="Immagine 10">
                <a:extLst>
                  <a:ext uri="{FF2B5EF4-FFF2-40B4-BE49-F238E27FC236}">
                    <a16:creationId xmlns="" xmlns:a16="http://schemas.microsoft.com/office/drawing/2014/main" id="{4C162C39-80A8-44C2-BF32-DAD1611C3DC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print"/>
              <a:srcRect l="9933" t="37628" r="76870" b="44950"/>
              <a:stretch/>
            </p:blipFill>
            <p:spPr>
              <a:xfrm>
                <a:off x="6629399" y="2868929"/>
                <a:ext cx="708661" cy="788671"/>
              </a:xfrm>
              <a:prstGeom prst="rect">
                <a:avLst/>
              </a:prstGeom>
              <a:ln>
                <a:solidFill>
                  <a:srgbClr val="36BBD6"/>
                </a:solidFill>
              </a:ln>
            </p:spPr>
          </p:pic>
          <p:sp>
            <p:nvSpPr>
              <p:cNvPr id="4" name="Rettangolo 3">
                <a:extLst>
                  <a:ext uri="{FF2B5EF4-FFF2-40B4-BE49-F238E27FC236}">
                    <a16:creationId xmlns="" xmlns:a16="http://schemas.microsoft.com/office/drawing/2014/main" id="{AAA09B01-7140-4DE0-A11F-1C26D9C8D529}"/>
                  </a:ext>
                </a:extLst>
              </p:cNvPr>
              <p:cNvSpPr/>
              <p:nvPr/>
            </p:nvSpPr>
            <p:spPr>
              <a:xfrm>
                <a:off x="7178041" y="2868929"/>
                <a:ext cx="160020" cy="17145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rgbClr val="36BBD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</p:grpSp>
      </p:grpSp>
      <p:sp>
        <p:nvSpPr>
          <p:cNvPr id="10" name="CasellaDiTesto 9">
            <a:extLst>
              <a:ext uri="{FF2B5EF4-FFF2-40B4-BE49-F238E27FC236}">
                <a16:creationId xmlns="" xmlns:a16="http://schemas.microsoft.com/office/drawing/2014/main" id="{83F41CC4-A15A-4B17-A355-73C8CBDC718B}"/>
              </a:ext>
            </a:extLst>
          </p:cNvPr>
          <p:cNvSpPr txBox="1"/>
          <p:nvPr/>
        </p:nvSpPr>
        <p:spPr>
          <a:xfrm>
            <a:off x="5292080" y="3284984"/>
            <a:ext cx="3528392" cy="2834622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pPr algn="just">
              <a:spcBef>
                <a:spcPct val="30000"/>
              </a:spcBef>
              <a:defRPr/>
            </a:pP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50 </a:t>
            </a:r>
            <a:r>
              <a:rPr lang="it-IT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g riduce l’endotossiemia e l’infiammazione in modo sia diretto che indiretto:</a:t>
            </a:r>
          </a:p>
          <a:p>
            <a:pPr marL="285750" indent="-285750" algn="just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it-IT" dirty="0" smtClean="0">
                <a:solidFill>
                  <a:schemeClr val="tx2">
                    <a:lumMod val="75000"/>
                  </a:schemeClr>
                </a:solidFill>
              </a:rPr>
              <a:t>Riducendo la </a:t>
            </a:r>
            <a:r>
              <a:rPr lang="it-IT" dirty="0" err="1" smtClean="0">
                <a:solidFill>
                  <a:schemeClr val="tx2">
                    <a:lumMod val="75000"/>
                  </a:schemeClr>
                </a:solidFill>
              </a:rPr>
              <a:t>traslocazione</a:t>
            </a:r>
            <a:r>
              <a:rPr lang="it-IT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batterica</a:t>
            </a:r>
          </a:p>
          <a:p>
            <a:pPr marL="285750" indent="-285750" algn="just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Contrastando la </a:t>
            </a:r>
            <a:r>
              <a:rPr lang="it-IT" dirty="0" err="1">
                <a:solidFill>
                  <a:schemeClr val="tx2">
                    <a:lumMod val="75000"/>
                  </a:schemeClr>
                </a:solidFill>
              </a:rPr>
              <a:t>sovracrescita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 batterica </a:t>
            </a:r>
          </a:p>
          <a:p>
            <a:pPr marL="285750" indent="-285750" algn="just">
              <a:spcBef>
                <a:spcPct val="30000"/>
              </a:spcBef>
              <a:buFont typeface="Arial" panose="020B0604020202020204" pitchFamily="34" charset="0"/>
              <a:buChar char="•"/>
              <a:defRPr/>
            </a:pP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Modulando la composizione e la funzione del microbiota.</a:t>
            </a:r>
          </a:p>
        </p:txBody>
      </p:sp>
      <p:sp>
        <p:nvSpPr>
          <p:cNvPr id="12" name="Rettangolo 11"/>
          <p:cNvSpPr/>
          <p:nvPr/>
        </p:nvSpPr>
        <p:spPr>
          <a:xfrm>
            <a:off x="251520" y="188640"/>
            <a:ext cx="8568952" cy="115212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zione della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</a:p>
          <a:p>
            <a:pPr algn="ctr"/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ll’asse intestino fegato 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3" name="Rettangolo 12"/>
          <p:cNvSpPr/>
          <p:nvPr/>
        </p:nvSpPr>
        <p:spPr>
          <a:xfrm>
            <a:off x="5364088" y="1628800"/>
            <a:ext cx="3384376" cy="1368152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i="1" dirty="0" smtClean="0">
                <a:solidFill>
                  <a:schemeClr val="tx2">
                    <a:lumMod val="75000"/>
                  </a:schemeClr>
                </a:solidFill>
              </a:rPr>
              <a:t>Antibiotico orale ,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nimamente assorbito</a:t>
            </a:r>
            <a:r>
              <a:rPr lang="it-IT" i="1" dirty="0" smtClean="0">
                <a:solidFill>
                  <a:schemeClr val="tx2">
                    <a:lumMod val="75000"/>
                  </a:schemeClr>
                </a:solidFill>
              </a:rPr>
              <a:t> , attivo verso batteri   </a:t>
            </a:r>
            <a:r>
              <a:rPr lang="it-IT" i="1" dirty="0" err="1" smtClean="0">
                <a:solidFill>
                  <a:schemeClr val="tx2">
                    <a:lumMod val="75000"/>
                  </a:schemeClr>
                </a:solidFill>
              </a:rPr>
              <a:t>Gram</a:t>
            </a:r>
            <a:r>
              <a:rPr lang="it-IT" i="1" dirty="0" smtClean="0">
                <a:solidFill>
                  <a:schemeClr val="tx2">
                    <a:lumMod val="75000"/>
                  </a:schemeClr>
                </a:solidFill>
              </a:rPr>
              <a:t> + e </a:t>
            </a:r>
            <a:r>
              <a:rPr lang="it-IT" i="1" dirty="0" err="1" smtClean="0">
                <a:solidFill>
                  <a:schemeClr val="tx2">
                    <a:lumMod val="75000"/>
                  </a:schemeClr>
                </a:solidFill>
              </a:rPr>
              <a:t>Gram</a:t>
            </a:r>
            <a:r>
              <a:rPr lang="it-IT" i="1" dirty="0" smtClean="0">
                <a:solidFill>
                  <a:schemeClr val="tx2">
                    <a:lumMod val="75000"/>
                  </a:schemeClr>
                </a:solidFill>
              </a:rPr>
              <a:t> - ,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mprobabile induttore di antibiotico resistenza </a:t>
            </a:r>
            <a:endParaRPr lang="it-IT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98317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nettore diritto 3">
            <a:extLst>
              <a:ext uri="{FF2B5EF4-FFF2-40B4-BE49-F238E27FC236}">
                <a16:creationId xmlns="" xmlns:a16="http://schemas.microsoft.com/office/drawing/2014/main" id="{6205606F-00CF-43DC-970B-A1780B199889}"/>
              </a:ext>
            </a:extLst>
          </p:cNvPr>
          <p:cNvCxnSpPr>
            <a:cxnSpLocks/>
          </p:cNvCxnSpPr>
          <p:nvPr/>
        </p:nvCxnSpPr>
        <p:spPr>
          <a:xfrm>
            <a:off x="333910" y="801384"/>
            <a:ext cx="4751798" cy="0"/>
          </a:xfrm>
          <a:prstGeom prst="line">
            <a:avLst/>
          </a:prstGeom>
          <a:ln w="28575"/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7" name="CasellaDiTesto 6">
            <a:extLst>
              <a:ext uri="{FF2B5EF4-FFF2-40B4-BE49-F238E27FC236}">
                <a16:creationId xmlns="" xmlns:a16="http://schemas.microsoft.com/office/drawing/2014/main" id="{0DC8A580-DFB3-4782-B11C-458583A59C0D}"/>
              </a:ext>
            </a:extLst>
          </p:cNvPr>
          <p:cNvSpPr txBox="1"/>
          <p:nvPr/>
        </p:nvSpPr>
        <p:spPr>
          <a:xfrm>
            <a:off x="323528" y="1484784"/>
            <a:ext cx="4104456" cy="5078313"/>
          </a:xfrm>
          <a:prstGeom prst="rect">
            <a:avLst/>
          </a:prstGeom>
          <a:noFill/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endParaRPr lang="it-IT" b="1" dirty="0"/>
          </a:p>
          <a:p>
            <a:r>
              <a:rPr lang="it-IT" dirty="0" err="1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 agisce da </a:t>
            </a:r>
            <a:r>
              <a:rPr lang="it-IT" b="1" dirty="0">
                <a:solidFill>
                  <a:schemeClr val="tx2">
                    <a:lumMod val="75000"/>
                  </a:schemeClr>
                </a:solidFill>
              </a:rPr>
              <a:t>agonista intestinale del recettore nucleare PXR 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</a:rPr>
              <a:t>(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</a:rPr>
              <a:t>Pregna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dirty="0">
                <a:solidFill>
                  <a:schemeClr val="tx2">
                    <a:lumMod val="75000"/>
                  </a:schemeClr>
                </a:solidFill>
              </a:rPr>
              <a:t>X Receptor). </a:t>
            </a:r>
          </a:p>
          <a:p>
            <a:endParaRPr lang="it-IT" b="1" dirty="0"/>
          </a:p>
          <a:p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L’attivazione del PXR da parte di </a:t>
            </a:r>
            <a:r>
              <a:rPr lang="it-IT" dirty="0" err="1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 provoca:</a:t>
            </a:r>
          </a:p>
          <a:p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tx2">
                    <a:lumMod val="75000"/>
                  </a:schemeClr>
                </a:solidFill>
              </a:rPr>
              <a:t>la riduzione dell’espressione genica dei recettori TLR4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(</a:t>
            </a:r>
            <a:r>
              <a:rPr lang="it-IT" dirty="0" err="1">
                <a:solidFill>
                  <a:schemeClr val="tx2">
                    <a:lumMod val="75000"/>
                  </a:schemeClr>
                </a:solidFill>
              </a:rPr>
              <a:t>Toll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dirty="0" err="1">
                <a:solidFill>
                  <a:schemeClr val="tx2">
                    <a:lumMod val="75000"/>
                  </a:schemeClr>
                </a:solidFill>
              </a:rPr>
              <a:t>Like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dirty="0" err="1" smtClean="0">
                <a:solidFill>
                  <a:schemeClr val="tx2">
                    <a:lumMod val="75000"/>
                  </a:schemeClr>
                </a:solidFill>
              </a:rPr>
              <a:t>Receptor</a:t>
            </a:r>
            <a:r>
              <a:rPr lang="it-IT" dirty="0" smtClean="0">
                <a:solidFill>
                  <a:schemeClr val="tx2">
                    <a:lumMod val="75000"/>
                  </a:schemeClr>
                </a:solidFill>
              </a:rPr>
              <a:t> 4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), che rappresentano il bersaglio dell’endotossina (LPS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b="1" dirty="0">
                <a:solidFill>
                  <a:schemeClr val="tx2">
                    <a:lumMod val="75000"/>
                  </a:schemeClr>
                </a:solidFill>
              </a:rPr>
              <a:t>l’inibizione dell’espressione del fattore trascrizionale NF-KB,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con conseguente riduzione del rilascio </a:t>
            </a:r>
            <a:r>
              <a:rPr lang="it-IT" dirty="0" smtClean="0">
                <a:solidFill>
                  <a:schemeClr val="tx2">
                    <a:lumMod val="75000"/>
                  </a:schemeClr>
                </a:solidFill>
              </a:rPr>
              <a:t>   dei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mediatori dell’infiammazione </a:t>
            </a:r>
            <a:r>
              <a:rPr lang="it-IT" dirty="0" smtClean="0">
                <a:solidFill>
                  <a:schemeClr val="tx2">
                    <a:lumMod val="75000"/>
                  </a:schemeClr>
                </a:solidFill>
              </a:rPr>
              <a:t>come   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il TNF-</a:t>
            </a:r>
            <a:r>
              <a:rPr lang="el-GR" dirty="0">
                <a:solidFill>
                  <a:schemeClr val="tx2">
                    <a:lumMod val="75000"/>
                  </a:schemeClr>
                </a:solidFill>
              </a:rPr>
              <a:t>α</a:t>
            </a:r>
            <a:r>
              <a:rPr lang="it-IT" dirty="0">
                <a:solidFill>
                  <a:schemeClr val="tx2">
                    <a:lumMod val="75000"/>
                  </a:schemeClr>
                </a:solidFill>
              </a:rPr>
              <a:t>, l’IL-8 e la PGE₂</a:t>
            </a:r>
          </a:p>
        </p:txBody>
      </p:sp>
      <p:sp>
        <p:nvSpPr>
          <p:cNvPr id="8" name="CasellaDiTesto 7">
            <a:extLst>
              <a:ext uri="{FF2B5EF4-FFF2-40B4-BE49-F238E27FC236}">
                <a16:creationId xmlns="" xmlns:a16="http://schemas.microsoft.com/office/drawing/2014/main" id="{3498E658-21DE-4A6E-9386-2DFEC2426821}"/>
              </a:ext>
            </a:extLst>
          </p:cNvPr>
          <p:cNvSpPr txBox="1"/>
          <p:nvPr/>
        </p:nvSpPr>
        <p:spPr>
          <a:xfrm>
            <a:off x="4860032" y="6381328"/>
            <a:ext cx="3974536" cy="338554"/>
          </a:xfrm>
          <a:prstGeom prst="rect">
            <a:avLst/>
          </a:prstGeom>
          <a:noFill/>
          <a:ln>
            <a:solidFill>
              <a:srgbClr val="50C5DC"/>
            </a:solidFill>
          </a:ln>
        </p:spPr>
        <p:txBody>
          <a:bodyPr wrap="square" rtlCol="0">
            <a:spAutoFit/>
          </a:bodyPr>
          <a:lstStyle/>
          <a:p>
            <a:pPr algn="r"/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</a:rPr>
              <a:t>Mencarelli A et al, Eur J </a:t>
            </a:r>
            <a:r>
              <a:rPr lang="it-IT" sz="1600" b="1" i="1" dirty="0" err="1">
                <a:solidFill>
                  <a:schemeClr val="tx2">
                    <a:lumMod val="75000"/>
                  </a:schemeClr>
                </a:solidFill>
              </a:rPr>
              <a:t>Pharmacol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</a:rPr>
              <a:t>. (2011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/>
              </a:rPr>
              <a:t>)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1026" name="Picture 2">
            <a:extLst>
              <a:ext uri="{FF2B5EF4-FFF2-40B4-BE49-F238E27FC236}">
                <a16:creationId xmlns="" xmlns:a16="http://schemas.microsoft.com/office/drawing/2014/main" id="{4AAF5C4E-CCBC-484E-AE82-F173E510C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5888" y="2132856"/>
            <a:ext cx="3880568" cy="3456384"/>
          </a:xfrm>
          <a:prstGeom prst="rect">
            <a:avLst/>
          </a:prstGeom>
          <a:noFill/>
          <a:ln>
            <a:solidFill>
              <a:srgbClr val="50C5DC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ttangolo 9"/>
          <p:cNvSpPr/>
          <p:nvPr/>
        </p:nvSpPr>
        <p:spPr>
          <a:xfrm>
            <a:off x="323528" y="116632"/>
            <a:ext cx="8352928" cy="1224136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4000" b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</a:t>
            </a:r>
          </a:p>
          <a:p>
            <a:pPr algn="ctr"/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zione antiinfiammatoria diretta </a:t>
            </a:r>
          </a:p>
          <a:p>
            <a:pPr algn="ctr"/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1297188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640960" cy="122899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ti-bacterial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locatio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ug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5098" t="30861" r="33137" b="32546"/>
          <a:stretch>
            <a:fillRect/>
          </a:stretch>
        </p:blipFill>
        <p:spPr bwMode="auto">
          <a:xfrm>
            <a:off x="827584" y="1772816"/>
            <a:ext cx="7200800" cy="4392488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6" name="Rettangolo 5"/>
          <p:cNvSpPr/>
          <p:nvPr/>
        </p:nvSpPr>
        <p:spPr>
          <a:xfrm>
            <a:off x="5796136" y="6237312"/>
            <a:ext cx="2952328" cy="504056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Caraceni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P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,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4932040" y="3573016"/>
            <a:ext cx="2016224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Rettangolo 7"/>
          <p:cNvSpPr/>
          <p:nvPr/>
        </p:nvSpPr>
        <p:spPr>
          <a:xfrm>
            <a:off x="4932040" y="5013176"/>
            <a:ext cx="2952328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="" xmlns:a16="http://schemas.microsoft.com/office/drawing/2014/main" id="{63EB67E0-1DA6-43E3-BB85-5187243EA4D3}"/>
              </a:ext>
            </a:extLst>
          </p:cNvPr>
          <p:cNvSpPr/>
          <p:nvPr/>
        </p:nvSpPr>
        <p:spPr>
          <a:xfrm>
            <a:off x="1547664" y="6378767"/>
            <a:ext cx="4608511" cy="338554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Pate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 V.C.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Shawcross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D. ,  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J </a:t>
            </a:r>
            <a:r>
              <a:rPr lang="en-US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en-US" sz="1600" b="1" i="1" dirty="0" err="1" smtClean="0">
                <a:solidFill>
                  <a:schemeClr val="tx2">
                    <a:lumMod val="75000"/>
                  </a:schemeClr>
                </a:solidFill>
              </a:rPr>
              <a:t>vol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 76 , 2022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9" name="Connettore 1 6">
            <a:extLst>
              <a:ext uri="{FF2B5EF4-FFF2-40B4-BE49-F238E27FC236}">
                <a16:creationId xmlns="" xmlns:a16="http://schemas.microsoft.com/office/drawing/2014/main" id="{139A24F7-7068-486D-9D61-FF37F03A99EC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" name="Immagine 1">
            <a:extLst>
              <a:ext uri="{FF2B5EF4-FFF2-40B4-BE49-F238E27FC236}">
                <a16:creationId xmlns="" xmlns:a16="http://schemas.microsoft.com/office/drawing/2014/main" id="{DE6E58A4-FB91-4582-8027-4EE8F5118D7D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51520" y="1340768"/>
            <a:ext cx="5922839" cy="4796846"/>
          </a:xfrm>
          <a:prstGeom prst="rect">
            <a:avLst/>
          </a:prstGeom>
          <a:ln>
            <a:solidFill>
              <a:srgbClr val="36BBD6"/>
            </a:solidFill>
          </a:ln>
        </p:spPr>
      </p:pic>
      <p:sp>
        <p:nvSpPr>
          <p:cNvPr id="3" name="Rettangolo 2">
            <a:extLst>
              <a:ext uri="{FF2B5EF4-FFF2-40B4-BE49-F238E27FC236}">
                <a16:creationId xmlns="" xmlns:a16="http://schemas.microsoft.com/office/drawing/2014/main" id="{9B2A5D0D-84B7-4C07-8AD0-9506CD7AA0CB}"/>
              </a:ext>
            </a:extLst>
          </p:cNvPr>
          <p:cNvSpPr/>
          <p:nvPr/>
        </p:nvSpPr>
        <p:spPr>
          <a:xfrm>
            <a:off x="6156176" y="1340768"/>
            <a:ext cx="2880320" cy="56630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b="1" dirty="0">
                <a:solidFill>
                  <a:schemeClr val="accent1">
                    <a:lumMod val="75000"/>
                  </a:schemeClr>
                </a:solidFill>
              </a:rPr>
              <a:t>HIGHLIGHTS</a:t>
            </a:r>
          </a:p>
          <a:p>
            <a:r>
              <a:rPr lang="it-IT" sz="1400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RIFAXIMINA  550 mg </a:t>
            </a:r>
            <a:r>
              <a:rPr lang="it-IT" sz="1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.i.d.</a:t>
            </a:r>
            <a:r>
              <a:rPr lang="it-IT" sz="1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</a:t>
            </a:r>
            <a:endParaRPr lang="it-IT" sz="1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duce l'infiammazione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temica di origine intestinale sopprimendo 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l ‘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ralizzazione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l microbioma intestinale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pprime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 specie che degradano la mucina ricche di </a:t>
            </a:r>
            <a:r>
              <a:rPr lang="it-IT" sz="1600" b="1" i="1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alidasi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(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eptococcus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1600" b="1" i="1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livarius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e </a:t>
            </a:r>
            <a:r>
              <a:rPr lang="it-IT" sz="1600" b="1" i="1" dirty="0" err="1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eillonella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pp.)</a:t>
            </a:r>
          </a:p>
          <a:p>
            <a:endParaRPr lang="it-IT" sz="16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vorisce il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pristino 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della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lora intestinale aumentando le risposte ai patogeni e promuovendo la riparazione della barriera intestinal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6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duce  </a:t>
            </a:r>
            <a:r>
              <a:rPr lang="it-IT" sz="1600" b="1" i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a probabilità di 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ezione 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179512" y="116632"/>
            <a:ext cx="8856984" cy="115212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YFSIS STUDY</a:t>
            </a:r>
          </a:p>
          <a:p>
            <a:pPr algn="ctr"/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cebo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rolled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uble-blind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y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</a:p>
          <a:p>
            <a:pPr algn="ctr"/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8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tics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ts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HE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ndom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 1: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ive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e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x 90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ys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35558445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ttangolo 5">
            <a:extLst>
              <a:ext uri="{FF2B5EF4-FFF2-40B4-BE49-F238E27FC236}">
                <a16:creationId xmlns:a16="http://schemas.microsoft.com/office/drawing/2014/main" xmlns="" id="{63EB67E0-1DA6-43E3-BB85-5187243EA4D3}"/>
              </a:ext>
            </a:extLst>
          </p:cNvPr>
          <p:cNvSpPr/>
          <p:nvPr/>
        </p:nvSpPr>
        <p:spPr>
          <a:xfrm>
            <a:off x="4139952" y="6378767"/>
            <a:ext cx="4665807" cy="369332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ate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V.C.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hawcros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D.,  </a:t>
            </a:r>
            <a:r>
              <a:rPr lang="en-US" b="1" i="1" dirty="0" smtClean="0">
                <a:solidFill>
                  <a:schemeClr val="tx2">
                    <a:lumMod val="75000"/>
                  </a:schemeClr>
                </a:solidFill>
              </a:rPr>
              <a:t>J </a:t>
            </a:r>
            <a:r>
              <a:rPr lang="en-US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en-US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b="1" i="1" dirty="0" err="1" smtClean="0">
                <a:solidFill>
                  <a:schemeClr val="tx2">
                    <a:lumMod val="75000"/>
                  </a:schemeClr>
                </a:solidFill>
              </a:rPr>
              <a:t>vol</a:t>
            </a:r>
            <a:r>
              <a:rPr lang="en-US" b="1" i="1" dirty="0" smtClean="0">
                <a:solidFill>
                  <a:schemeClr val="tx2">
                    <a:lumMod val="75000"/>
                  </a:schemeClr>
                </a:solidFill>
              </a:rPr>
              <a:t> 76 2022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cxnSp>
        <p:nvCxnSpPr>
          <p:cNvPr id="9" name="Connettore 1 6">
            <a:extLst>
              <a:ext uri="{FF2B5EF4-FFF2-40B4-BE49-F238E27FC236}">
                <a16:creationId xmlns:a16="http://schemas.microsoft.com/office/drawing/2014/main" xmlns="" id="{139A24F7-7068-486D-9D61-FF37F03A99EC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Immagine 7">
            <a:extLst>
              <a:ext uri="{FF2B5EF4-FFF2-40B4-BE49-F238E27FC236}">
                <a16:creationId xmlns:a16="http://schemas.microsoft.com/office/drawing/2014/main" xmlns="" id="{850E4316-3181-4BDB-85DD-555F1903A5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/>
          <a:srcRect r="3851"/>
          <a:stretch/>
        </p:blipFill>
        <p:spPr>
          <a:xfrm>
            <a:off x="307568" y="1189599"/>
            <a:ext cx="4146011" cy="3268102"/>
          </a:xfrm>
          <a:prstGeom prst="rect">
            <a:avLst/>
          </a:prstGeom>
          <a:ln>
            <a:solidFill>
              <a:srgbClr val="50C5DC"/>
            </a:solidFill>
          </a:ln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xmlns="" id="{BDE67202-4A0D-4CCE-9BC4-60AB0354A5CA}"/>
              </a:ext>
            </a:extLst>
          </p:cNvPr>
          <p:cNvSpPr/>
          <p:nvPr/>
        </p:nvSpPr>
        <p:spPr>
          <a:xfrm>
            <a:off x="251520" y="4504554"/>
            <a:ext cx="4248472" cy="461665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r>
              <a:rPr lang="it-IT" sz="1200" dirty="0">
                <a:solidFill>
                  <a:schemeClr val="tx2">
                    <a:lumMod val="75000"/>
                  </a:schemeClr>
                </a:solidFill>
              </a:rPr>
              <a:t>Espressione neutrofila dei TLR-4 a 30 giorni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( blu)  </a:t>
            </a:r>
            <a:r>
              <a:rPr lang="it-IT" sz="1200" dirty="0">
                <a:solidFill>
                  <a:schemeClr val="tx2">
                    <a:lumMod val="75000"/>
                  </a:schemeClr>
                </a:solidFill>
              </a:rPr>
              <a:t>comparata 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         con </a:t>
            </a:r>
            <a:r>
              <a:rPr lang="it-IT" sz="1200" dirty="0">
                <a:solidFill>
                  <a:schemeClr val="tx2">
                    <a:lumMod val="75000"/>
                  </a:schemeClr>
                </a:solidFill>
              </a:rPr>
              <a:t>il basale (</a:t>
            </a:r>
            <a:r>
              <a:rPr lang="it-IT" sz="1200" dirty="0" smtClean="0">
                <a:solidFill>
                  <a:schemeClr val="tx2">
                    <a:lumMod val="75000"/>
                  </a:schemeClr>
                </a:solidFill>
              </a:rPr>
              <a:t>rosso )</a:t>
            </a:r>
            <a:endParaRPr lang="it-IT" sz="12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xmlns="" id="{28B13A8B-2D1D-4507-860B-9AC332C372EE}"/>
              </a:ext>
            </a:extLst>
          </p:cNvPr>
          <p:cNvSpPr txBox="1"/>
          <p:nvPr/>
        </p:nvSpPr>
        <p:spPr>
          <a:xfrm>
            <a:off x="243989" y="4974799"/>
            <a:ext cx="4273170" cy="738664"/>
          </a:xfrm>
          <a:prstGeom prst="rect">
            <a:avLst/>
          </a:prstGeom>
          <a:noFill/>
          <a:ln>
            <a:solidFill>
              <a:srgbClr val="50C5DC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Significativa riduzione dell’espressione dei TLR-4 dei neutrofili circolanti al giorno 30 nei pazienti trattati con </a:t>
            </a:r>
            <a:r>
              <a:rPr lang="it-IT" sz="1400" b="1" i="1" dirty="0" err="1">
                <a:solidFill>
                  <a:schemeClr val="tx2">
                    <a:lumMod val="75000"/>
                  </a:schemeClr>
                </a:solidFill>
              </a:rPr>
              <a:t>rifaximina-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  <a:sym typeface="Symbol" panose="05050102010706020507" pitchFamily="18" charset="2"/>
              </a:rPr>
              <a:t> 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  <a:sym typeface="Symbol" panose="05050102010706020507" pitchFamily="18" charset="2"/>
              </a:rPr>
              <a:t> ma 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  <a:sym typeface="Symbol" panose="05050102010706020507" pitchFamily="18" charset="2"/>
              </a:rPr>
              <a:t>non 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  <a:sym typeface="Symbol" panose="05050102010706020507" pitchFamily="18" charset="2"/>
              </a:rPr>
              <a:t>nel gruppo 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  <a:sym typeface="Symbol" panose="05050102010706020507" pitchFamily="18" charset="2"/>
              </a:rPr>
              <a:t>placebo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</p:txBody>
      </p:sp>
      <p:sp>
        <p:nvSpPr>
          <p:cNvPr id="11" name="Rettangolo 10">
            <a:extLst>
              <a:ext uri="{FF2B5EF4-FFF2-40B4-BE49-F238E27FC236}">
                <a16:creationId xmlns:a16="http://schemas.microsoft.com/office/drawing/2014/main" xmlns="" id="{647A6FD0-4541-4A02-989D-543FEB65D178}"/>
              </a:ext>
            </a:extLst>
          </p:cNvPr>
          <p:cNvSpPr/>
          <p:nvPr/>
        </p:nvSpPr>
        <p:spPr>
          <a:xfrm>
            <a:off x="4855731" y="4974799"/>
            <a:ext cx="3872624" cy="738664"/>
          </a:xfrm>
          <a:prstGeom prst="rect">
            <a:avLst/>
          </a:prstGeom>
          <a:noFill/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Dopo 90 giorni di trattamento con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, 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è stata osservata una riduzione significativa (p&lt;0,001) 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del 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livelli plasmatici di TNF-</a:t>
            </a:r>
            <a:r>
              <a:rPr lang="el-GR" sz="1400" b="1" i="1" dirty="0">
                <a:solidFill>
                  <a:schemeClr val="tx2">
                    <a:lumMod val="75000"/>
                  </a:schemeClr>
                </a:solidFill>
              </a:rPr>
              <a:t>α</a:t>
            </a:r>
            <a:r>
              <a:rPr lang="it-IT" sz="1400" b="1" i="1" dirty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</p:txBody>
      </p:sp>
      <p:pic>
        <p:nvPicPr>
          <p:cNvPr id="12" name="Immagine 11">
            <a:extLst>
              <a:ext uri="{FF2B5EF4-FFF2-40B4-BE49-F238E27FC236}">
                <a16:creationId xmlns:a16="http://schemas.microsoft.com/office/drawing/2014/main" xmlns="" id="{41C5A62A-6E56-4433-9328-4DBFA741C2D4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855731" y="1196752"/>
            <a:ext cx="4016822" cy="3240360"/>
          </a:xfrm>
          <a:prstGeom prst="rect">
            <a:avLst/>
          </a:prstGeom>
          <a:ln>
            <a:solidFill>
              <a:srgbClr val="50C5DC"/>
            </a:solidFill>
          </a:ln>
        </p:spPr>
      </p:pic>
      <p:sp>
        <p:nvSpPr>
          <p:cNvPr id="13" name="Rettangolo 12"/>
          <p:cNvSpPr/>
          <p:nvPr/>
        </p:nvSpPr>
        <p:spPr>
          <a:xfrm>
            <a:off x="251520" y="188640"/>
            <a:ext cx="8496944" cy="936104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duzione infiammazione sistemica </a:t>
            </a:r>
            <a:endParaRPr lang="it-IT" sz="4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251520" y="5805264"/>
            <a:ext cx="8496944" cy="504056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Lo studio non ha raggiunto l’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ndpoin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primario : </a:t>
            </a:r>
          </a:p>
          <a:p>
            <a:pPr algn="ctr"/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abbattimento del 50 % della produzione di ROS da parte dei leucociti dei pazienti arruolati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22584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79D97F06-8678-464A-953F-7A9FE4AA8034}"/>
              </a:ext>
            </a:extLst>
          </p:cNvPr>
          <p:cNvSpPr txBox="1"/>
          <p:nvPr/>
        </p:nvSpPr>
        <p:spPr>
          <a:xfrm>
            <a:off x="5940152" y="6381328"/>
            <a:ext cx="3024337" cy="338554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sv-SE" sz="1600" b="1" i="1" dirty="0">
                <a:solidFill>
                  <a:schemeClr val="tx2">
                    <a:lumMod val="75000"/>
                  </a:schemeClr>
                </a:solidFill>
              </a:rPr>
              <a:t>J. Clin. Med. 2023, 12, 2210</a:t>
            </a:r>
            <a:r>
              <a:rPr lang="sv-SE" sz="1600" b="1" i="1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" name="Immagine 1">
            <a:extLst>
              <a:ext uri="{FF2B5EF4-FFF2-40B4-BE49-F238E27FC236}">
                <a16:creationId xmlns="" xmlns:a16="http://schemas.microsoft.com/office/drawing/2014/main" id="{24463F3A-B9B8-4745-8FA6-E70630D01846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554642" y="3419855"/>
            <a:ext cx="2034716" cy="18290"/>
          </a:xfrm>
          <a:prstGeom prst="rect">
            <a:avLst/>
          </a:prstGeom>
        </p:spPr>
      </p:pic>
      <p:pic>
        <p:nvPicPr>
          <p:cNvPr id="4" name="Immagine 3">
            <a:extLst>
              <a:ext uri="{FF2B5EF4-FFF2-40B4-BE49-F238E27FC236}">
                <a16:creationId xmlns="" xmlns:a16="http://schemas.microsoft.com/office/drawing/2014/main" id="{8FB3BEA0-3BD1-4B75-B699-EDFC33AE278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23528" y="1988840"/>
            <a:ext cx="8568952" cy="3816424"/>
          </a:xfrm>
          <a:prstGeom prst="rect">
            <a:avLst/>
          </a:prstGeom>
          <a:ln>
            <a:solidFill>
              <a:srgbClr val="36BBD6"/>
            </a:solidFill>
          </a:ln>
        </p:spPr>
      </p:pic>
      <p:pic>
        <p:nvPicPr>
          <p:cNvPr id="8" name="Graphique 1">
            <a:extLst>
              <a:ext uri="{FF2B5EF4-FFF2-40B4-BE49-F238E27FC236}">
                <a16:creationId xmlns="" xmlns:a16="http://schemas.microsoft.com/office/drawing/2014/main" id="{3AC4EC89-0923-4887-BC8B-702CE0CCD89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9378" y="273894"/>
            <a:ext cx="232641" cy="426822"/>
          </a:xfrm>
          <a:prstGeom prst="rect">
            <a:avLst/>
          </a:prstGeom>
        </p:spPr>
      </p:pic>
      <p:cxnSp>
        <p:nvCxnSpPr>
          <p:cNvPr id="10" name="Connettore 1 6">
            <a:extLst>
              <a:ext uri="{FF2B5EF4-FFF2-40B4-BE49-F238E27FC236}">
                <a16:creationId xmlns="" xmlns:a16="http://schemas.microsoft.com/office/drawing/2014/main" id="{91BF599C-5E0F-4E4A-A496-78D18BFD0A7A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itolo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13" name="Rettangolo 12"/>
          <p:cNvSpPr/>
          <p:nvPr/>
        </p:nvSpPr>
        <p:spPr>
          <a:xfrm>
            <a:off x="251520" y="260648"/>
            <a:ext cx="8640960" cy="1152128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&amp;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ction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323528" y="6093296"/>
            <a:ext cx="4968552" cy="576064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bservationa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trospectiv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ud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2016-2021</a:t>
            </a:r>
          </a:p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t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66   &gt;  29  </a:t>
            </a:r>
            <a:endParaRPr lang="it-IT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99657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79D97F06-8678-464A-953F-7A9FE4AA8034}"/>
              </a:ext>
            </a:extLst>
          </p:cNvPr>
          <p:cNvSpPr txBox="1"/>
          <p:nvPr/>
        </p:nvSpPr>
        <p:spPr>
          <a:xfrm>
            <a:off x="6444208" y="6515099"/>
            <a:ext cx="2540935" cy="338554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sv-SE" sz="1600" b="1" i="1" dirty="0">
                <a:solidFill>
                  <a:schemeClr val="tx2">
                    <a:lumMod val="75000"/>
                  </a:schemeClr>
                </a:solidFill>
              </a:rPr>
              <a:t>J. Clin. Med. 2023, 12, </a:t>
            </a:r>
            <a:r>
              <a:rPr lang="sv-SE" sz="1600" b="1" i="1" dirty="0" smtClean="0">
                <a:solidFill>
                  <a:schemeClr val="tx2">
                    <a:lumMod val="75000"/>
                  </a:schemeClr>
                </a:solidFill>
              </a:rPr>
              <a:t>2210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CasellaDiTesto 3">
            <a:extLst>
              <a:ext uri="{FF2B5EF4-FFF2-40B4-BE49-F238E27FC236}">
                <a16:creationId xmlns="" xmlns:a16="http://schemas.microsoft.com/office/drawing/2014/main" id="{BFA12CF0-000F-48E3-9F10-B38DBDAEE966}"/>
              </a:ext>
            </a:extLst>
          </p:cNvPr>
          <p:cNvSpPr txBox="1"/>
          <p:nvPr/>
        </p:nvSpPr>
        <p:spPr>
          <a:xfrm>
            <a:off x="5508104" y="3284983"/>
            <a:ext cx="3240360" cy="1477328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La somministrazione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per </a:t>
            </a:r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tre mesi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di </a:t>
            </a:r>
            <a:r>
              <a:rPr lang="it-IT" b="1" i="1" dirty="0" err="1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1200 mg /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di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non migliora </a:t>
            </a:r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significativamente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NLR/ </a:t>
            </a:r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LMR ma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migliora i </a:t>
            </a:r>
            <a:r>
              <a:rPr lang="it-IT" b="1" i="1" dirty="0">
                <a:solidFill>
                  <a:schemeClr val="tx2">
                    <a:lumMod val="75000"/>
                  </a:schemeClr>
                </a:solidFill>
              </a:rPr>
              <a:t>livelli di 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PCR  ( p&lt; 0,01 ) e CAR ( p&lt;0,91 ) 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5" name="Immagine 4">
            <a:extLst>
              <a:ext uri="{FF2B5EF4-FFF2-40B4-BE49-F238E27FC236}">
                <a16:creationId xmlns="" xmlns:a16="http://schemas.microsoft.com/office/drawing/2014/main" id="{D4F0D044-210D-453A-A16C-4312EF3E9AD9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7163" y="1418095"/>
            <a:ext cx="5278933" cy="5300420"/>
          </a:xfrm>
          <a:prstGeom prst="rect">
            <a:avLst/>
          </a:prstGeom>
          <a:ln>
            <a:solidFill>
              <a:srgbClr val="36BBD6"/>
            </a:solidFill>
          </a:ln>
        </p:spPr>
      </p:pic>
      <p:sp>
        <p:nvSpPr>
          <p:cNvPr id="8" name="CasellaDiTesto 7">
            <a:extLst>
              <a:ext uri="{FF2B5EF4-FFF2-40B4-BE49-F238E27FC236}">
                <a16:creationId xmlns="" xmlns:a16="http://schemas.microsoft.com/office/drawing/2014/main" id="{A3F7A692-C019-4569-8612-4BA45F300DFA}"/>
              </a:ext>
            </a:extLst>
          </p:cNvPr>
          <p:cNvSpPr txBox="1"/>
          <p:nvPr/>
        </p:nvSpPr>
        <p:spPr>
          <a:xfrm>
            <a:off x="3203848" y="4077072"/>
            <a:ext cx="2232248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400" dirty="0" smtClean="0"/>
              <a:t> </a:t>
            </a:r>
          </a:p>
          <a:p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Marcatori  di infiammazione           dopo </a:t>
            </a:r>
            <a:r>
              <a:rPr lang="it-IT" sz="1400" dirty="0">
                <a:solidFill>
                  <a:schemeClr val="tx2">
                    <a:lumMod val="75000"/>
                  </a:schemeClr>
                </a:solidFill>
              </a:rPr>
              <a:t>tre mesi </a:t>
            </a: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di assunzione di  </a:t>
            </a:r>
            <a:r>
              <a:rPr lang="it-IT" sz="1400" dirty="0" err="1" smtClean="0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.</a:t>
            </a:r>
          </a:p>
          <a:p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**</a:t>
            </a:r>
            <a:r>
              <a:rPr lang="it-IT" sz="1400" dirty="0">
                <a:solidFill>
                  <a:schemeClr val="tx2">
                    <a:lumMod val="75000"/>
                  </a:schemeClr>
                </a:solidFill>
              </a:rPr>
              <a:t>p&lt;0,01. </a:t>
            </a:r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NLR</a:t>
            </a:r>
            <a:r>
              <a:rPr lang="it-IT" sz="1400" dirty="0">
                <a:solidFill>
                  <a:schemeClr val="tx2">
                    <a:lumMod val="75000"/>
                  </a:schemeClr>
                </a:solidFill>
              </a:rPr>
              <a:t>, rapporto neutrofili-linfociti; LMR, rapporto linfociti-monociti; </a:t>
            </a:r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DLP</a:t>
            </a:r>
            <a:r>
              <a:rPr lang="it-IT" sz="1400" dirty="0">
                <a:solidFill>
                  <a:schemeClr val="tx2">
                    <a:lumMod val="75000"/>
                  </a:schemeClr>
                </a:solidFill>
              </a:rPr>
              <a:t>, rapporto piastrine-linfociti; CRP, proteina C-reattiva; </a:t>
            </a:r>
            <a:endParaRPr lang="it-IT" sz="1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400" dirty="0" smtClean="0">
                <a:solidFill>
                  <a:schemeClr val="tx2">
                    <a:lumMod val="75000"/>
                  </a:schemeClr>
                </a:solidFill>
              </a:rPr>
              <a:t>CAR</a:t>
            </a:r>
            <a:r>
              <a:rPr lang="it-IT" sz="1400" dirty="0">
                <a:solidFill>
                  <a:schemeClr val="tx2">
                    <a:lumMod val="75000"/>
                  </a:schemeClr>
                </a:solidFill>
              </a:rPr>
              <a:t>, CRP / albumina.</a:t>
            </a:r>
          </a:p>
        </p:txBody>
      </p:sp>
      <p:sp>
        <p:nvSpPr>
          <p:cNvPr id="6" name="Rettangolo 5"/>
          <p:cNvSpPr/>
          <p:nvPr/>
        </p:nvSpPr>
        <p:spPr>
          <a:xfrm>
            <a:off x="395536" y="260648"/>
            <a:ext cx="8424936" cy="1080120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igliora PCR e CAR 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95905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568952" cy="122899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SPH :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dicto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io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4358" t="34043" r="3463" b="3453"/>
          <a:stretch>
            <a:fillRect/>
          </a:stretch>
        </p:blipFill>
        <p:spPr bwMode="auto">
          <a:xfrm>
            <a:off x="755576" y="1988840"/>
            <a:ext cx="7776864" cy="396044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79D97F06-8678-464A-953F-7A9FE4AA8034}"/>
              </a:ext>
            </a:extLst>
          </p:cNvPr>
          <p:cNvSpPr txBox="1"/>
          <p:nvPr/>
        </p:nvSpPr>
        <p:spPr>
          <a:xfrm>
            <a:off x="6084169" y="6515099"/>
            <a:ext cx="2664296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sv-SE" sz="1600" b="1" i="1" dirty="0">
                <a:solidFill>
                  <a:schemeClr val="tx2">
                    <a:lumMod val="75000"/>
                  </a:schemeClr>
                </a:solidFill>
              </a:rPr>
              <a:t>J. Clin. Med. 2023, 12, </a:t>
            </a:r>
            <a:r>
              <a:rPr lang="sv-SE" sz="1600" b="1" i="1" dirty="0" smtClean="0">
                <a:solidFill>
                  <a:schemeClr val="tx2">
                    <a:lumMod val="75000"/>
                  </a:schemeClr>
                </a:solidFill>
              </a:rPr>
              <a:t>2210</a:t>
            </a:r>
            <a:endParaRPr lang="it-IT" sz="1100" b="1" i="1" dirty="0"/>
          </a:p>
        </p:txBody>
      </p:sp>
      <p:pic>
        <p:nvPicPr>
          <p:cNvPr id="3" name="Immagine 2">
            <a:extLst>
              <a:ext uri="{FF2B5EF4-FFF2-40B4-BE49-F238E27FC236}">
                <a16:creationId xmlns="" xmlns:a16="http://schemas.microsoft.com/office/drawing/2014/main" id="{23867D3D-7219-4F67-9929-E26C2D70BD93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07182" y="1268760"/>
            <a:ext cx="8513290" cy="4608512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75F6F27A-53E2-4430-B087-7E4E428D186A}"/>
              </a:ext>
            </a:extLst>
          </p:cNvPr>
          <p:cNvSpPr txBox="1"/>
          <p:nvPr/>
        </p:nvSpPr>
        <p:spPr>
          <a:xfrm>
            <a:off x="395536" y="5949280"/>
            <a:ext cx="8319839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it-IT" sz="1000" dirty="0" smtClean="0"/>
              <a:t>CPS </a:t>
            </a:r>
            <a:r>
              <a:rPr lang="it-IT" sz="1000" dirty="0"/>
              <a:t>(A) e distribuzione della classe Child-Pugh (B) a tre mesi di somministrazione di </a:t>
            </a:r>
            <a:r>
              <a:rPr lang="it-IT" sz="1000" dirty="0" err="1" smtClean="0"/>
              <a:t>Rifaximina</a:t>
            </a:r>
            <a:r>
              <a:rPr lang="it-IT" sz="1000" dirty="0" smtClean="0"/>
              <a:t>.La </a:t>
            </a:r>
            <a:r>
              <a:rPr lang="it-IT" sz="1000" dirty="0"/>
              <a:t>distribuzione delle modifiche nei parametri CPS nel gruppo di miglioramento CPS e </a:t>
            </a:r>
            <a:r>
              <a:rPr lang="it-IT" sz="1000" dirty="0" smtClean="0"/>
              <a:t>CPS gruppo </a:t>
            </a:r>
            <a:r>
              <a:rPr lang="it-IT" sz="1000" dirty="0"/>
              <a:t>di non miglioramento a tre mesi dalla somministrazione di </a:t>
            </a:r>
            <a:r>
              <a:rPr lang="it-IT" sz="1000" dirty="0" err="1"/>
              <a:t>Rifaximina</a:t>
            </a:r>
            <a:r>
              <a:rPr lang="it-IT" sz="1000" dirty="0"/>
              <a:t> (C). La distribuzione dei cambiamenti</a:t>
            </a:r>
          </a:p>
          <a:p>
            <a:r>
              <a:rPr lang="it-IT" sz="1000" dirty="0"/>
              <a:t>in CRP nel gruppo di miglioramento dell'albumina e nel gruppo di non miglioramento dell'albumina a tre mesi </a:t>
            </a:r>
            <a:r>
              <a:rPr lang="it-IT" sz="1000" dirty="0" smtClean="0"/>
              <a:t>di somministrazione </a:t>
            </a:r>
            <a:r>
              <a:rPr lang="it-IT" sz="1000" dirty="0"/>
              <a:t>di </a:t>
            </a:r>
            <a:r>
              <a:rPr lang="it-IT" sz="1000" dirty="0" err="1"/>
              <a:t>Rifaximina</a:t>
            </a:r>
            <a:r>
              <a:rPr lang="it-IT" sz="1000" dirty="0"/>
              <a:t> (D</a:t>
            </a:r>
            <a:r>
              <a:rPr lang="it-IT" sz="1000" dirty="0" smtClean="0"/>
              <a:t>).                 </a:t>
            </a:r>
            <a:r>
              <a:rPr lang="it-IT" sz="1000" dirty="0"/>
              <a:t>* p &lt; 0,05, ** p &lt; 0,01. CPS, punteggio Child-Pugh; CRP, proteina C-reattiva</a:t>
            </a:r>
          </a:p>
          <a:p>
            <a:endParaRPr lang="it-IT" b="1" dirty="0">
              <a:solidFill>
                <a:schemeClr val="accent1"/>
              </a:solidFill>
            </a:endParaRPr>
          </a:p>
          <a:p>
            <a:endParaRPr lang="it-IT" dirty="0"/>
          </a:p>
        </p:txBody>
      </p:sp>
      <p:sp>
        <p:nvSpPr>
          <p:cNvPr id="5" name="Rettangolo 4"/>
          <p:cNvSpPr/>
          <p:nvPr/>
        </p:nvSpPr>
        <p:spPr>
          <a:xfrm>
            <a:off x="323528" y="116632"/>
            <a:ext cx="8496944" cy="1080120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3600" b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er tre e dodici mesi </a:t>
            </a:r>
          </a:p>
          <a:p>
            <a:pPr algn="ctr"/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gliora PCR , Albumina e CPS</a:t>
            </a:r>
          </a:p>
          <a:p>
            <a:pPr algn="ctr"/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6891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w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lity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idence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9" name="Picture 3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37699" t="27718" r="17726" b="43120"/>
          <a:stretch>
            <a:fillRect/>
          </a:stretch>
        </p:blipFill>
        <p:spPr bwMode="auto">
          <a:xfrm>
            <a:off x="467544" y="1556792"/>
            <a:ext cx="8280920" cy="1368152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14340" name="Picture 4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21292" t="24548" r="23435" b="50094"/>
          <a:stretch>
            <a:fillRect/>
          </a:stretch>
        </p:blipFill>
        <p:spPr bwMode="auto">
          <a:xfrm>
            <a:off x="467544" y="2924944"/>
            <a:ext cx="8280920" cy="1152128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14341" name="Picture 5"/>
          <p:cNvPicPr>
            <a:picLocks noChangeAspect="1" noChangeArrowheads="1"/>
          </p:cNvPicPr>
          <p:nvPr/>
        </p:nvPicPr>
        <p:blipFill>
          <a:blip r:embed="rId4" cstate="print"/>
          <a:srcRect l="33862" t="33600" r="36607" b="41201"/>
          <a:stretch>
            <a:fillRect/>
          </a:stretch>
        </p:blipFill>
        <p:spPr bwMode="auto">
          <a:xfrm>
            <a:off x="467544" y="4077072"/>
            <a:ext cx="8280920" cy="144016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14342" name="Picture 6"/>
          <p:cNvPicPr>
            <a:picLocks noChangeAspect="1" noChangeArrowheads="1"/>
          </p:cNvPicPr>
          <p:nvPr/>
        </p:nvPicPr>
        <p:blipFill>
          <a:blip r:embed="rId5" cstate="print"/>
          <a:srcRect l="20868" t="31499" r="42907" b="47501"/>
          <a:stretch>
            <a:fillRect/>
          </a:stretch>
        </p:blipFill>
        <p:spPr bwMode="auto">
          <a:xfrm>
            <a:off x="467544" y="5589240"/>
            <a:ext cx="8280920" cy="108012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496944" cy="1368152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 HOPE Project </a:t>
            </a:r>
            <a:r>
              <a:rPr lang="it-IT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hophysiologic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roach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1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0467" t="14951" r="19572" b="3908"/>
          <a:stretch>
            <a:fillRect/>
          </a:stretch>
        </p:blipFill>
        <p:spPr bwMode="auto">
          <a:xfrm>
            <a:off x="467544" y="1700808"/>
            <a:ext cx="8424936" cy="489654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</p:spPr>
      </p:pic>
      <p:sp>
        <p:nvSpPr>
          <p:cNvPr id="4" name="Freccia in giù 3"/>
          <p:cNvSpPr/>
          <p:nvPr/>
        </p:nvSpPr>
        <p:spPr>
          <a:xfrm rot="4008115">
            <a:off x="3318244" y="2612918"/>
            <a:ext cx="288032" cy="869869"/>
          </a:xfrm>
          <a:prstGeom prst="down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Freccia a destra 4"/>
          <p:cNvSpPr/>
          <p:nvPr/>
        </p:nvSpPr>
        <p:spPr>
          <a:xfrm>
            <a:off x="6084168" y="4509120"/>
            <a:ext cx="792088" cy="288032"/>
          </a:xfrm>
          <a:prstGeom prst="right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91264" cy="1224136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Autofit/>
          </a:bodyPr>
          <a:lstStyle/>
          <a:p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eiotropic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in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n</a:t>
            </a:r>
            <a:b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ll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TPase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the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5318" t="20876" r="33919" b="38393"/>
          <a:stretch>
            <a:fillRect/>
          </a:stretch>
        </p:blipFill>
        <p:spPr bwMode="auto">
          <a:xfrm>
            <a:off x="467544" y="1484784"/>
            <a:ext cx="8280920" cy="3960440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220072" y="6381328"/>
            <a:ext cx="3528392" cy="360040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Pos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.e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l, J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Jul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2018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467544" y="5445224"/>
            <a:ext cx="8280920" cy="864096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leiotrop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ffect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r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ediat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b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reduc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soprenoid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( FPP, GGPP )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necessary</a:t>
            </a:r>
            <a:endParaRPr lang="it-IT" b="1" i="1" dirty="0" smtClean="0">
              <a:solidFill>
                <a:schemeClr val="tx2">
                  <a:lumMod val="75000"/>
                </a:schemeClr>
              </a:solidFill>
            </a:endParaRPr>
          </a:p>
          <a:p>
            <a:pPr algn="ctr"/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activat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mal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GTPas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lik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Rho and Ras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otein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atin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hibi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RhoA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nd Rac1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enyla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odulating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NO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, NO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avalaibilit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nhancing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abilit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NO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RNA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188640"/>
            <a:ext cx="8291264" cy="1008112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/>
          </a:bodyPr>
          <a:lstStyle/>
          <a:p>
            <a:r>
              <a:rPr lang="it-IT" sz="2400" b="1" dirty="0" err="1" smtClean="0"/>
              <a:t>Sinvastatin</a:t>
            </a:r>
            <a:r>
              <a:rPr lang="it-IT" sz="2400" b="1" dirty="0" smtClean="0"/>
              <a:t> plus Standard </a:t>
            </a:r>
            <a:r>
              <a:rPr lang="it-IT" sz="2400" b="1" dirty="0" err="1" smtClean="0"/>
              <a:t>Therapy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for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Prevention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of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Variceal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Bleeding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Not</a:t>
            </a:r>
            <a:r>
              <a:rPr lang="it-IT" sz="2400" b="1" dirty="0" smtClean="0"/>
              <a:t> Reduce </a:t>
            </a:r>
            <a:r>
              <a:rPr lang="it-IT" sz="2400" b="1" dirty="0" err="1" smtClean="0"/>
              <a:t>Variceal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Bleeding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but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Increase</a:t>
            </a:r>
            <a:r>
              <a:rPr lang="it-IT" sz="2400" b="1" dirty="0" smtClean="0"/>
              <a:t> </a:t>
            </a:r>
            <a:r>
              <a:rPr lang="it-IT" sz="2400" b="1" dirty="0" err="1" smtClean="0"/>
              <a:t>Survival</a:t>
            </a:r>
            <a:r>
              <a:rPr lang="it-IT" sz="2400" b="1" dirty="0" smtClean="0"/>
              <a:t> </a:t>
            </a:r>
            <a:endParaRPr lang="it-IT" sz="2400" b="1" dirty="0"/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9322" t="24497" r="41318" b="3908"/>
          <a:stretch>
            <a:fillRect/>
          </a:stretch>
        </p:blipFill>
        <p:spPr bwMode="auto">
          <a:xfrm>
            <a:off x="467544" y="1556792"/>
            <a:ext cx="8280920" cy="4608512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4788024" y="6381328"/>
            <a:ext cx="3960440" cy="360040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Abraldes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JG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al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Gastroenterology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2016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in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ent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LF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2413" t="14951" r="15097" b="3908"/>
          <a:stretch>
            <a:fillRect/>
          </a:stretch>
        </p:blipFill>
        <p:spPr bwMode="auto">
          <a:xfrm>
            <a:off x="611560" y="1700808"/>
            <a:ext cx="8064896" cy="482453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in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vent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hort-term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rtality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6400" t="23946" r="29025" b="8064"/>
          <a:stretch>
            <a:fillRect/>
          </a:stretch>
        </p:blipFill>
        <p:spPr bwMode="auto">
          <a:xfrm>
            <a:off x="467544" y="1556792"/>
            <a:ext cx="8136904" cy="482453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417638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 fontScale="90000"/>
          </a:bodyPr>
          <a:lstStyle/>
          <a:p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 HOPE Project :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hophysiologic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roach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1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31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1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7914" t="11769" r="17913" b="3908"/>
          <a:stretch>
            <a:fillRect/>
          </a:stretch>
        </p:blipFill>
        <p:spPr bwMode="auto">
          <a:xfrm>
            <a:off x="251520" y="1484784"/>
            <a:ext cx="8640960" cy="5184576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HOPE - SAFETY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10643" t="35298" r="47153" b="44857"/>
          <a:stretch>
            <a:fillRect/>
          </a:stretch>
        </p:blipFill>
        <p:spPr bwMode="auto">
          <a:xfrm>
            <a:off x="395536" y="1556792"/>
            <a:ext cx="8424936" cy="180020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8" name="Rettangolo 7"/>
          <p:cNvSpPr/>
          <p:nvPr/>
        </p:nvSpPr>
        <p:spPr>
          <a:xfrm>
            <a:off x="2699792" y="3140968"/>
            <a:ext cx="2808312" cy="14401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000" dirty="0" smtClean="0">
                <a:solidFill>
                  <a:srgbClr val="C00000"/>
                </a:solidFill>
              </a:rPr>
              <a:t>Pose E </a:t>
            </a:r>
            <a:r>
              <a:rPr lang="it-IT" sz="1000" dirty="0" err="1" smtClean="0">
                <a:solidFill>
                  <a:srgbClr val="C00000"/>
                </a:solidFill>
              </a:rPr>
              <a:t>et</a:t>
            </a:r>
            <a:r>
              <a:rPr lang="it-IT" sz="1000" dirty="0" smtClean="0">
                <a:solidFill>
                  <a:srgbClr val="C00000"/>
                </a:solidFill>
              </a:rPr>
              <a:t> al </a:t>
            </a:r>
            <a:r>
              <a:rPr lang="it-IT" sz="1000" dirty="0" err="1" smtClean="0">
                <a:solidFill>
                  <a:srgbClr val="C00000"/>
                </a:solidFill>
              </a:rPr>
              <a:t>Lancet</a:t>
            </a:r>
            <a:r>
              <a:rPr lang="it-IT" sz="1000" dirty="0" smtClean="0">
                <a:solidFill>
                  <a:srgbClr val="C00000"/>
                </a:solidFill>
              </a:rPr>
              <a:t> </a:t>
            </a:r>
            <a:r>
              <a:rPr lang="it-IT" sz="1000" dirty="0" err="1" smtClean="0">
                <a:solidFill>
                  <a:srgbClr val="C00000"/>
                </a:solidFill>
              </a:rPr>
              <a:t>Gastroenterol</a:t>
            </a:r>
            <a:r>
              <a:rPr lang="it-IT" sz="1000" dirty="0" smtClean="0">
                <a:solidFill>
                  <a:srgbClr val="C00000"/>
                </a:solidFill>
              </a:rPr>
              <a:t> </a:t>
            </a:r>
            <a:r>
              <a:rPr lang="it-IT" sz="1000" dirty="0" err="1" smtClean="0">
                <a:solidFill>
                  <a:srgbClr val="C00000"/>
                </a:solidFill>
              </a:rPr>
              <a:t>Hepatol</a:t>
            </a:r>
            <a:r>
              <a:rPr lang="it-IT" sz="1000" dirty="0" smtClean="0">
                <a:solidFill>
                  <a:srgbClr val="C00000"/>
                </a:solidFill>
              </a:rPr>
              <a:t> 2020</a:t>
            </a:r>
            <a:endParaRPr lang="it-IT" sz="1000" dirty="0">
              <a:solidFill>
                <a:srgbClr val="C00000"/>
              </a:solidFill>
            </a:endParaRPr>
          </a:p>
        </p:txBody>
      </p:sp>
      <p:pic>
        <p:nvPicPr>
          <p:cNvPr id="15363" name="Picture 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39739" t="54371" r="40654" b="25204"/>
          <a:stretch>
            <a:fillRect/>
          </a:stretch>
        </p:blipFill>
        <p:spPr bwMode="auto">
          <a:xfrm>
            <a:off x="2123728" y="3501008"/>
            <a:ext cx="4968552" cy="309634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6" name="Rettangolo 5"/>
          <p:cNvSpPr/>
          <p:nvPr/>
        </p:nvSpPr>
        <p:spPr>
          <a:xfrm>
            <a:off x="6084168" y="6309320"/>
            <a:ext cx="504056" cy="21602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/>
          <p:cNvSpPr/>
          <p:nvPr/>
        </p:nvSpPr>
        <p:spPr>
          <a:xfrm>
            <a:off x="2267744" y="4005064"/>
            <a:ext cx="4752528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Rettangolo 8"/>
          <p:cNvSpPr/>
          <p:nvPr/>
        </p:nvSpPr>
        <p:spPr>
          <a:xfrm>
            <a:off x="2195736" y="4293096"/>
            <a:ext cx="4824536" cy="45719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Rettangolo 9"/>
          <p:cNvSpPr/>
          <p:nvPr/>
        </p:nvSpPr>
        <p:spPr>
          <a:xfrm>
            <a:off x="2195736" y="4581128"/>
            <a:ext cx="4248472" cy="45719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Rettangolo 10"/>
          <p:cNvSpPr/>
          <p:nvPr/>
        </p:nvSpPr>
        <p:spPr>
          <a:xfrm>
            <a:off x="2195736" y="4869160"/>
            <a:ext cx="4104456" cy="7200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HOPE – SAFETY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8677" t="26088" r="39261" b="7090"/>
          <a:stretch>
            <a:fillRect/>
          </a:stretch>
        </p:blipFill>
        <p:spPr bwMode="auto">
          <a:xfrm>
            <a:off x="467544" y="1556792"/>
            <a:ext cx="8208912" cy="4608512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8" name="Rettangolo 7"/>
          <p:cNvSpPr/>
          <p:nvPr/>
        </p:nvSpPr>
        <p:spPr>
          <a:xfrm>
            <a:off x="4572000" y="4437112"/>
            <a:ext cx="4032448" cy="187220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print"/>
          <a:srcRect l="39768" t="26600" r="39757" b="37701"/>
          <a:stretch>
            <a:fillRect/>
          </a:stretch>
        </p:blipFill>
        <p:spPr bwMode="auto">
          <a:xfrm>
            <a:off x="4427984" y="1556792"/>
            <a:ext cx="4320480" cy="4608512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6" name="Rettangolo 5"/>
          <p:cNvSpPr/>
          <p:nvPr/>
        </p:nvSpPr>
        <p:spPr>
          <a:xfrm>
            <a:off x="467544" y="6237312"/>
            <a:ext cx="8280920" cy="62068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cidence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uscle-toxicity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mvastatin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t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ily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ose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40 mg               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uld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up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30x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er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se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ients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the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eneral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pulation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0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3563888" y="1772816"/>
            <a:ext cx="576064" cy="21602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AST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3635896" y="3429000"/>
            <a:ext cx="504056" cy="21602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ALT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7812360" y="1772816"/>
            <a:ext cx="576064" cy="21602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CPK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156990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severe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ease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8677" t="14951" r="19021" b="5499"/>
          <a:stretch>
            <a:fillRect/>
          </a:stretch>
        </p:blipFill>
        <p:spPr bwMode="auto">
          <a:xfrm>
            <a:off x="539552" y="2276872"/>
            <a:ext cx="8208912" cy="4176464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4" name="Freccia a destra 3"/>
          <p:cNvSpPr/>
          <p:nvPr/>
        </p:nvSpPr>
        <p:spPr>
          <a:xfrm>
            <a:off x="107504" y="2780928"/>
            <a:ext cx="576064" cy="576064"/>
          </a:xfrm>
          <a:prstGeom prst="right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Freccia a destra 4"/>
          <p:cNvSpPr/>
          <p:nvPr/>
        </p:nvSpPr>
        <p:spPr>
          <a:xfrm>
            <a:off x="107504" y="5229200"/>
            <a:ext cx="720080" cy="576064"/>
          </a:xfrm>
          <a:prstGeom prst="right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6" name="Rettangolo 5"/>
          <p:cNvSpPr/>
          <p:nvPr/>
        </p:nvSpPr>
        <p:spPr>
          <a:xfrm>
            <a:off x="4716016" y="6525344"/>
            <a:ext cx="4032448" cy="332656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ngelman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C., Bernardi M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1331640" y="1556792"/>
            <a:ext cx="6480720" cy="648072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Inflammation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is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a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first-line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the innate immune system </a:t>
            </a:r>
          </a:p>
          <a:p>
            <a:pPr algn="ctr"/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danger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signals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pathogens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or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damaged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i="1" dirty="0" err="1" smtClean="0">
                <a:solidFill>
                  <a:schemeClr val="tx2">
                    <a:lumMod val="75000"/>
                  </a:schemeClr>
                </a:solidFill>
              </a:rPr>
              <a:t>cells</a:t>
            </a:r>
            <a:r>
              <a:rPr lang="it-IT" sz="2000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endParaRPr lang="it-IT" sz="20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40960" cy="115699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/>
          </a:bodyPr>
          <a:lstStyle/>
          <a:p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ation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4000" b="1" dirty="0" smtClean="0">
                <a:solidFill>
                  <a:schemeClr val="accent3">
                    <a:lumMod val="5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4000" b="1" dirty="0">
              <a:solidFill>
                <a:schemeClr val="accent3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44" t="22996" r="32374" b="22831"/>
          <a:stretch/>
        </p:blipFill>
        <p:spPr bwMode="auto">
          <a:xfrm>
            <a:off x="323528" y="1628800"/>
            <a:ext cx="8424936" cy="5040560"/>
          </a:xfrm>
          <a:prstGeom prst="rect">
            <a:avLst/>
          </a:prstGeom>
          <a:noFill/>
          <a:ln>
            <a:solidFill>
              <a:srgbClr val="50C5DC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564850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188640"/>
            <a:ext cx="8496944" cy="122899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/>
          </a:bodyPr>
          <a:lstStyle/>
          <a:p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nges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ory</a:t>
            </a:r>
            <a:r>
              <a:rPr lang="it-IT" sz="4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4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rkers</a:t>
            </a:r>
            <a:endParaRPr lang="it-IT" sz="4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5122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0211" t="29667" r="33062" b="22110"/>
          <a:stretch/>
        </p:blipFill>
        <p:spPr bwMode="auto">
          <a:xfrm>
            <a:off x="467544" y="1844824"/>
            <a:ext cx="8352928" cy="4536504"/>
          </a:xfrm>
          <a:prstGeom prst="rect">
            <a:avLst/>
          </a:prstGeom>
          <a:noFill/>
          <a:ln>
            <a:solidFill>
              <a:srgbClr val="50C5DC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1844438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568952" cy="1301006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rvedilol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lus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mvastatin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ates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tal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ypertension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on-response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Symbol" pitchFamily="18" charset="2"/>
              </a:rPr>
              <a:t>b</a:t>
            </a:r>
            <a:r>
              <a:rPr lang="it-IT" sz="2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-blockers</a:t>
            </a:r>
            <a:endParaRPr lang="it-IT" sz="2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87" t="33087" r="32696" b="22275"/>
          <a:stretch/>
        </p:blipFill>
        <p:spPr bwMode="auto">
          <a:xfrm>
            <a:off x="323528" y="1628800"/>
            <a:ext cx="8496944" cy="4968552"/>
          </a:xfrm>
          <a:prstGeom prst="rect">
            <a:avLst/>
          </a:prstGeom>
          <a:noFill/>
          <a:ln>
            <a:solidFill>
              <a:srgbClr val="50C5DC"/>
            </a:solidFill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9384572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08112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eiotropic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843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1362" t="24119" r="23634" b="6712"/>
          <a:stretch>
            <a:fillRect/>
          </a:stretch>
        </p:blipFill>
        <p:spPr bwMode="auto">
          <a:xfrm>
            <a:off x="467544" y="1844824"/>
            <a:ext cx="8208912" cy="410445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3995936" y="6237312"/>
            <a:ext cx="4680520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Garcia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Martinez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R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ogy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 2019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modified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 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Freccia in giù 5"/>
          <p:cNvSpPr/>
          <p:nvPr/>
        </p:nvSpPr>
        <p:spPr>
          <a:xfrm rot="5400000">
            <a:off x="5472100" y="2204864"/>
            <a:ext cx="216024" cy="432048"/>
          </a:xfrm>
          <a:prstGeom prst="downArrow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7" name="Rettangolo 6"/>
          <p:cNvSpPr/>
          <p:nvPr/>
        </p:nvSpPr>
        <p:spPr>
          <a:xfrm>
            <a:off x="5868144" y="2204864"/>
            <a:ext cx="504056" cy="360040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smtClean="0"/>
              <a:t>75%</a:t>
            </a:r>
            <a:endParaRPr lang="it-IT" sz="1200" b="1" dirty="0"/>
          </a:p>
        </p:txBody>
      </p:sp>
      <p:sp>
        <p:nvSpPr>
          <p:cNvPr id="8" name="Rettangolo 7"/>
          <p:cNvSpPr/>
          <p:nvPr/>
        </p:nvSpPr>
        <p:spPr>
          <a:xfrm>
            <a:off x="7164288" y="4437112"/>
            <a:ext cx="1512168" cy="504056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 smtClean="0"/>
              <a:t>Most</a:t>
            </a:r>
            <a:r>
              <a:rPr lang="it-IT" sz="1200" b="1" dirty="0" smtClean="0"/>
              <a:t> </a:t>
            </a:r>
            <a:r>
              <a:rPr lang="it-IT" sz="1200" b="1" dirty="0" err="1" smtClean="0"/>
              <a:t>abundant</a:t>
            </a:r>
            <a:r>
              <a:rPr lang="it-IT" sz="1200" b="1" dirty="0" smtClean="0"/>
              <a:t> </a:t>
            </a:r>
            <a:r>
              <a:rPr lang="it-IT" sz="1200" b="1" dirty="0" err="1" smtClean="0"/>
              <a:t>circulating</a:t>
            </a:r>
            <a:r>
              <a:rPr lang="it-IT" sz="1200" b="1" dirty="0" smtClean="0"/>
              <a:t> </a:t>
            </a:r>
            <a:r>
              <a:rPr lang="it-IT" sz="1200" b="1" dirty="0" err="1" smtClean="0"/>
              <a:t>antioxidative</a:t>
            </a:r>
            <a:r>
              <a:rPr lang="it-IT" sz="1200" b="1" dirty="0" smtClean="0"/>
              <a:t> system</a:t>
            </a:r>
            <a:endParaRPr lang="it-IT" sz="1200" b="1" dirty="0"/>
          </a:p>
        </p:txBody>
      </p:sp>
      <p:sp>
        <p:nvSpPr>
          <p:cNvPr id="9" name="Rettangolo 8"/>
          <p:cNvSpPr/>
          <p:nvPr/>
        </p:nvSpPr>
        <p:spPr>
          <a:xfrm>
            <a:off x="7164288" y="3573016"/>
            <a:ext cx="1512168" cy="432048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smtClean="0">
                <a:solidFill>
                  <a:schemeClr val="bg1"/>
                </a:solidFill>
              </a:rPr>
              <a:t>ROS  </a:t>
            </a:r>
            <a:r>
              <a:rPr lang="it-IT" sz="1200" b="1" dirty="0" err="1" smtClean="0">
                <a:solidFill>
                  <a:schemeClr val="bg1"/>
                </a:solidFill>
              </a:rPr>
              <a:t>scaveging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6804248" y="5445224"/>
            <a:ext cx="1728192" cy="432048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 smtClean="0">
                <a:solidFill>
                  <a:schemeClr val="bg1"/>
                </a:solidFill>
              </a:rPr>
              <a:t>Binding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r>
              <a:rPr lang="it-IT" sz="1200" b="1" dirty="0" err="1" smtClean="0">
                <a:solidFill>
                  <a:schemeClr val="bg1"/>
                </a:solidFill>
              </a:rPr>
              <a:t>capacity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r>
              <a:rPr lang="it-IT" sz="1200" b="1" dirty="0" err="1" smtClean="0">
                <a:solidFill>
                  <a:schemeClr val="bg1"/>
                </a:solidFill>
              </a:rPr>
              <a:t>of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</a:p>
          <a:p>
            <a:pPr algn="ctr"/>
            <a:r>
              <a:rPr lang="it-IT" sz="1200" b="1" dirty="0" smtClean="0">
                <a:solidFill>
                  <a:schemeClr val="bg1"/>
                </a:solidFill>
              </a:rPr>
              <a:t>PAMPS &amp; DAMPS 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11" name="Rettangolo 10"/>
          <p:cNvSpPr/>
          <p:nvPr/>
        </p:nvSpPr>
        <p:spPr>
          <a:xfrm>
            <a:off x="467544" y="4509120"/>
            <a:ext cx="1872208" cy="576064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200" b="1" dirty="0" err="1" smtClean="0">
                <a:solidFill>
                  <a:schemeClr val="bg1"/>
                </a:solidFill>
              </a:rPr>
              <a:t>Reducing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r>
              <a:rPr lang="it-IT" sz="1200" b="1" dirty="0" err="1" smtClean="0">
                <a:solidFill>
                  <a:schemeClr val="bg1"/>
                </a:solidFill>
              </a:rPr>
              <a:t>platelet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r>
              <a:rPr lang="it-IT" sz="1200" b="1" dirty="0" err="1" smtClean="0">
                <a:solidFill>
                  <a:schemeClr val="bg1"/>
                </a:solidFill>
              </a:rPr>
              <a:t>activation</a:t>
            </a:r>
            <a:r>
              <a:rPr lang="it-IT" sz="1200" b="1" dirty="0" smtClean="0">
                <a:solidFill>
                  <a:schemeClr val="bg1"/>
                </a:solidFill>
              </a:rPr>
              <a:t>  and acid base </a:t>
            </a:r>
            <a:r>
              <a:rPr lang="it-IT" sz="1200" b="1" dirty="0" err="1" smtClean="0">
                <a:solidFill>
                  <a:schemeClr val="bg1"/>
                </a:solidFill>
              </a:rPr>
              <a:t>balance</a:t>
            </a:r>
            <a:r>
              <a:rPr lang="it-IT" sz="1200" b="1" dirty="0" smtClean="0">
                <a:solidFill>
                  <a:schemeClr val="bg1"/>
                </a:solidFill>
              </a:rPr>
              <a:t> </a:t>
            </a:r>
            <a:endParaRPr lang="it-IT" sz="1200" b="1" dirty="0">
              <a:solidFill>
                <a:schemeClr val="bg1"/>
              </a:solidFill>
            </a:endParaRPr>
          </a:p>
        </p:txBody>
      </p:sp>
      <p:sp>
        <p:nvSpPr>
          <p:cNvPr id="12" name="Rettangolo 11"/>
          <p:cNvSpPr/>
          <p:nvPr/>
        </p:nvSpPr>
        <p:spPr>
          <a:xfrm>
            <a:off x="467544" y="1268760"/>
            <a:ext cx="8208912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The non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ncotic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operti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r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rictl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relat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th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tegrit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olecular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ructur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568952" cy="115212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ructure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ffect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ction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741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1818" t="25771" r="23636" b="9802"/>
          <a:stretch>
            <a:fillRect/>
          </a:stretch>
        </p:blipFill>
        <p:spPr bwMode="auto">
          <a:xfrm>
            <a:off x="4644008" y="2348880"/>
            <a:ext cx="4176464" cy="345638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14338" name="Picture 2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25490" t="39130" r="29412" b="13044"/>
          <a:stretch>
            <a:fillRect/>
          </a:stretch>
        </p:blipFill>
        <p:spPr bwMode="auto">
          <a:xfrm>
            <a:off x="251520" y="2348880"/>
            <a:ext cx="4248472" cy="3456384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251520" y="1340768"/>
            <a:ext cx="8568952" cy="93610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A 66,5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kDa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globular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otei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ynthesiz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b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epatocyt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th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os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abundan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erum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otei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whos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oncentratio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rang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3,5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o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5 g/dl 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suli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ortis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nd GH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imulat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whil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proinflammator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ytokin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hibi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ynthesis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6" name="Rettangolo 5"/>
          <p:cNvSpPr/>
          <p:nvPr/>
        </p:nvSpPr>
        <p:spPr>
          <a:xfrm>
            <a:off x="107504" y="5949280"/>
            <a:ext cx="4392488" cy="79208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A single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chain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585 AA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organiz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in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hree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domain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stabiliz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b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34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disulfides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bonds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4644008" y="5949280"/>
            <a:ext cx="4392488" cy="79208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400" b="1" i="1" u="sng" dirty="0" smtClean="0">
                <a:solidFill>
                  <a:schemeClr val="tx2">
                    <a:lumMod val="75000"/>
                  </a:schemeClr>
                </a:solidFill>
              </a:rPr>
              <a:t>  In </a:t>
            </a:r>
            <a:r>
              <a:rPr lang="it-IT" sz="1400" b="1" i="1" u="sng" dirty="0" err="1" smtClean="0">
                <a:solidFill>
                  <a:schemeClr val="tx2">
                    <a:lumMod val="75000"/>
                  </a:schemeClr>
                </a:solidFill>
              </a:rPr>
              <a:t>Healthy</a:t>
            </a:r>
            <a:r>
              <a:rPr lang="it-IT" sz="1400" b="1" i="1" u="sng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u="sng" dirty="0" err="1" smtClean="0">
                <a:solidFill>
                  <a:schemeClr val="tx2">
                    <a:lumMod val="75000"/>
                  </a:schemeClr>
                </a:solidFill>
              </a:rPr>
              <a:t>Adults</a:t>
            </a:r>
            <a:r>
              <a:rPr lang="it-IT" sz="1400" b="1" i="1" u="sng" dirty="0" smtClean="0">
                <a:solidFill>
                  <a:schemeClr val="tx2">
                    <a:lumMod val="75000"/>
                  </a:schemeClr>
                </a:solidFill>
              </a:rPr>
              <a:t> :</a:t>
            </a:r>
          </a:p>
          <a:p>
            <a:pPr>
              <a:buFont typeface="Arial" pitchFamily="34" charset="0"/>
              <a:buChar char="•"/>
            </a:pP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70-80%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irreversible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disulfide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bonds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 (</a:t>
            </a:r>
            <a:r>
              <a:rPr lang="it-IT" sz="1400" b="1" i="1" dirty="0" err="1" smtClean="0">
                <a:solidFill>
                  <a:srgbClr val="FF0000"/>
                </a:solidFill>
              </a:rPr>
              <a:t>mercaptalbumin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) </a:t>
            </a:r>
          </a:p>
          <a:p>
            <a:pPr>
              <a:buFont typeface="Arial" pitchFamily="34" charset="0"/>
              <a:buChar char="•"/>
            </a:pP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20% 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reversible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disulfide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bonds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( </a:t>
            </a:r>
            <a:r>
              <a:rPr lang="it-IT" sz="1400" b="1" i="1" dirty="0" smtClean="0">
                <a:solidFill>
                  <a:srgbClr val="FF0000"/>
                </a:solidFill>
              </a:rPr>
              <a:t>non </a:t>
            </a:r>
            <a:r>
              <a:rPr lang="it-IT" sz="1400" b="1" i="1" dirty="0" err="1" smtClean="0">
                <a:solidFill>
                  <a:srgbClr val="FF0000"/>
                </a:solidFill>
              </a:rPr>
              <a:t>mercaptalbumin</a:t>
            </a:r>
            <a:r>
              <a:rPr lang="it-IT" sz="1400" b="1" i="1" dirty="0" smtClean="0">
                <a:solidFill>
                  <a:srgbClr val="FF0000"/>
                </a:solidFill>
              </a:rPr>
              <a:t> 1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</a:p>
          <a:p>
            <a:pPr>
              <a:buFont typeface="Arial" pitchFamily="34" charset="0"/>
              <a:buChar char="•"/>
            </a:pP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smtClean="0">
                <a:solidFill>
                  <a:schemeClr val="tx2">
                    <a:lumMod val="75000"/>
                  </a:schemeClr>
                </a:solidFill>
              </a:rPr>
              <a:t>&lt; </a:t>
            </a:r>
            <a:r>
              <a:rPr lang="it-IT" sz="1400" b="1" i="1" smtClean="0">
                <a:solidFill>
                  <a:schemeClr val="tx2">
                    <a:lumMod val="75000"/>
                  </a:schemeClr>
                </a:solidFill>
              </a:rPr>
              <a:t>1 % 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irreversibly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400" b="1" i="1" dirty="0" err="1" smtClean="0">
                <a:solidFill>
                  <a:schemeClr val="tx2">
                    <a:lumMod val="75000"/>
                  </a:schemeClr>
                </a:solidFill>
              </a:rPr>
              <a:t>oxidized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  ( </a:t>
            </a:r>
            <a:r>
              <a:rPr lang="it-IT" sz="1400" b="1" i="1" dirty="0" smtClean="0">
                <a:solidFill>
                  <a:srgbClr val="FF0000"/>
                </a:solidFill>
              </a:rPr>
              <a:t>non </a:t>
            </a:r>
            <a:r>
              <a:rPr lang="it-IT" sz="1400" b="1" i="1" dirty="0" err="1" smtClean="0">
                <a:solidFill>
                  <a:srgbClr val="FF0000"/>
                </a:solidFill>
              </a:rPr>
              <a:t>mercaptalbumin</a:t>
            </a:r>
            <a:r>
              <a:rPr lang="it-IT" sz="1400" b="1" i="1" dirty="0" smtClean="0">
                <a:solidFill>
                  <a:srgbClr val="FF0000"/>
                </a:solidFill>
              </a:rPr>
              <a:t> 2 </a:t>
            </a:r>
            <a:r>
              <a:rPr lang="it-IT" sz="1400" b="1" i="1" dirty="0" smtClean="0">
                <a:solidFill>
                  <a:schemeClr val="tx2">
                    <a:lumMod val="75000"/>
                  </a:schemeClr>
                </a:solidFill>
              </a:rPr>
              <a:t>)   </a:t>
            </a:r>
            <a:endParaRPr lang="it-IT" sz="14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3528" y="274638"/>
            <a:ext cx="8496944" cy="114300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dministratio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rget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multiple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mplication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ient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48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4047" t="29373" r="25374" b="5499"/>
          <a:stretch>
            <a:fillRect/>
          </a:stretch>
        </p:blipFill>
        <p:spPr bwMode="auto">
          <a:xfrm>
            <a:off x="395536" y="1628800"/>
            <a:ext cx="8424936" cy="453650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4139952" y="6309320"/>
            <a:ext cx="4680520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Zaccherini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 G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Med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: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vid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Res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 2020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sensus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on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150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1806" t="22906" r="26732" b="29364"/>
          <a:stretch>
            <a:fillRect/>
          </a:stretch>
        </p:blipFill>
        <p:spPr bwMode="auto">
          <a:xfrm>
            <a:off x="467544" y="1700808"/>
            <a:ext cx="8280920" cy="4248472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39552" y="6165304"/>
            <a:ext cx="8208912" cy="576064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l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dition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haracterized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y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acute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orsening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ive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olemia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0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008112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ong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erm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se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6" name="Segnaposto contenuto 5"/>
          <p:cNvGraphicFramePr>
            <a:graphicFrameLocks noGrp="1"/>
          </p:cNvGraphicFramePr>
          <p:nvPr>
            <p:ph idx="1"/>
          </p:nvPr>
        </p:nvGraphicFramePr>
        <p:xfrm>
          <a:off x="0" y="1196752"/>
          <a:ext cx="9144000" cy="60635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86000"/>
                <a:gridCol w="2286000"/>
                <a:gridCol w="2286000"/>
                <a:gridCol w="2286000"/>
              </a:tblGrid>
              <a:tr h="1410067">
                <a:tc>
                  <a:txBody>
                    <a:bodyPr/>
                    <a:lstStyle/>
                    <a:p>
                      <a:pPr algn="ctr"/>
                      <a:endParaRPr lang="it-IT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RECIOSA PILOT </a:t>
                      </a:r>
                    </a:p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TUDY</a:t>
                      </a:r>
                    </a:p>
                    <a:p>
                      <a:pPr algn="ctr"/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ecompensated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ts</a:t>
                      </a:r>
                      <a:endParaRPr lang="it-IT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it-IT" b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rospective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tudy</a:t>
                      </a:r>
                      <a:endParaRPr lang="it-IT" b="1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8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ts</a:t>
                      </a:r>
                      <a:endParaRPr lang="it-IT" b="1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2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weks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High dose</a:t>
                      </a:r>
                    </a:p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,5 g/ Kg week</a:t>
                      </a:r>
                    </a:p>
                    <a:p>
                      <a:pPr algn="ctr"/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Vs</a:t>
                      </a:r>
                      <a:endParaRPr lang="it-IT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Low Dose</a:t>
                      </a:r>
                    </a:p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1 g / Kg 2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weeks</a:t>
                      </a:r>
                      <a:endParaRPr lang="it-IT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High dose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ssociated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with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normalised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lbumin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level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, LV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tability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,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reduced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cytokines</a:t>
                      </a:r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level</a:t>
                      </a:r>
                      <a:endParaRPr lang="it-IT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</a:tr>
              <a:tr h="1410067"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NSWER</a:t>
                      </a:r>
                    </a:p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irrhotics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s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ith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table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uncomplicated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grade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2-3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scites</a:t>
                      </a:r>
                      <a:endParaRPr lang="it-IT" b="1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algn="ctr"/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LD 12-13 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andom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. open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lable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ulticenter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study</a:t>
                      </a:r>
                      <a:endParaRPr lang="it-IT" b="1" dirty="0" smtClean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440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pt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7,6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onth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40 gr </a:t>
                      </a:r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.i.week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poi</a:t>
                      </a:r>
                    </a:p>
                    <a:p>
                      <a:pPr algn="ctr"/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40 gr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o.week</a:t>
                      </a:r>
                      <a:endParaRPr lang="it-IT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algn="ctr"/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Vs</a:t>
                      </a:r>
                      <a:endParaRPr lang="it-IT" baseline="0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algn="ctr"/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Standard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Therapy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</a:p>
                    <a:p>
                      <a:pPr algn="ctr"/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0,6-0,8 g/dl</a:t>
                      </a:r>
                      <a:endParaRPr lang="it-IT" dirty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it-IT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lbumin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HR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ortality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(38%),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improve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scites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,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ecompensation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events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,</a:t>
                      </a:r>
                      <a:r>
                        <a:rPr lang="it-IT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ospitalisation</a:t>
                      </a:r>
                      <a:r>
                        <a:rPr lang="it-IT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QOL </a:t>
                      </a:r>
                      <a:endParaRPr lang="it-IT" dirty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</a:tr>
              <a:tr h="1410067"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ACHT</a:t>
                      </a:r>
                    </a:p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Decompensate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on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aiting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list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for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OLT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MELD 17-18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andomize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ulticenter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,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double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blin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placebo-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controlle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study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 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196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pt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/63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day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idodrine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plus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lbumi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49 gr / 2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weeks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</a:p>
                    <a:p>
                      <a:pPr algn="ctr"/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No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significant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change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in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albumin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level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No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reductio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in AKI ,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HE,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infection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,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hypo-natremia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,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bleeding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or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mortality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at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one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year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</a:rPr>
                        <a:t> 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</a:tr>
              <a:tr h="1674455"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TTIRE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AD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ith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or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without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ACLF</a:t>
                      </a:r>
                      <a:endParaRPr lang="it-IT" b="1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hospitalise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pts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</a:t>
                      </a:r>
                    </a:p>
                    <a:p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it-IT" b="1" dirty="0" smtClean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Randomized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open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multicenter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study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/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777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pts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/ 14 giorni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Albumi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to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level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up &gt; 30 gr / l ( 200 gr )</a:t>
                      </a:r>
                    </a:p>
                    <a:p>
                      <a:pPr algn="ctr"/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vs standard </a:t>
                      </a:r>
                      <a:r>
                        <a:rPr lang="it-IT" b="1" baseline="0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therapy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/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( 20 gr )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No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reductio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in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new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infectio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,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kydney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isfunction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,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eath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</a:t>
                      </a:r>
                    </a:p>
                    <a:p>
                      <a:pPr algn="ctr"/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( 28 </a:t>
                      </a:r>
                      <a:r>
                        <a:rPr lang="it-IT" b="1" dirty="0" err="1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day</a:t>
                      </a:r>
                      <a:r>
                        <a:rPr lang="it-IT" b="1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, 3</a:t>
                      </a:r>
                      <a:r>
                        <a:rPr lang="it-IT" b="1" baseline="0" dirty="0" smtClean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</a:rPr>
                        <a:t> or 6 mo. )</a:t>
                      </a:r>
                      <a:endParaRPr lang="it-IT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</a:endParaRPr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Freccia in giù 6"/>
          <p:cNvSpPr/>
          <p:nvPr/>
        </p:nvSpPr>
        <p:spPr>
          <a:xfrm>
            <a:off x="7740352" y="2636912"/>
            <a:ext cx="72008" cy="288032"/>
          </a:xfrm>
          <a:prstGeom prst="downArrow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8" name="Freccia a destra 7"/>
          <p:cNvSpPr/>
          <p:nvPr/>
        </p:nvSpPr>
        <p:spPr>
          <a:xfrm rot="16200000">
            <a:off x="4824028" y="3897052"/>
            <a:ext cx="288032" cy="72008"/>
          </a:xfrm>
          <a:prstGeom prst="right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323528" y="274638"/>
            <a:ext cx="8568952" cy="114300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b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sufficient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vidence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ideline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ommendations</a:t>
            </a:r>
            <a:endParaRPr lang="it-IT" sz="28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638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66652" t="28539" r="4006" b="41791"/>
          <a:stretch>
            <a:fillRect/>
          </a:stretch>
        </p:blipFill>
        <p:spPr bwMode="auto">
          <a:xfrm>
            <a:off x="323528" y="1556792"/>
            <a:ext cx="8568952" cy="468052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4860032" y="6381328"/>
            <a:ext cx="4032448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Jagdish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R.K.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ogy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 , March ,2021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51520" y="116632"/>
            <a:ext cx="8712968" cy="1296144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2619" t="46736" r="50787" b="4625"/>
          <a:stretch>
            <a:fillRect/>
          </a:stretch>
        </p:blipFill>
        <p:spPr bwMode="auto">
          <a:xfrm>
            <a:off x="251520" y="1844824"/>
            <a:ext cx="4248472" cy="4752528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4099" name="Picture 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22718" t="26628" r="50655" b="8887"/>
          <a:stretch>
            <a:fillRect/>
          </a:stretch>
        </p:blipFill>
        <p:spPr bwMode="auto">
          <a:xfrm>
            <a:off x="4788024" y="1844824"/>
            <a:ext cx="4032448" cy="482453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395536" y="188640"/>
            <a:ext cx="8352928" cy="122899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/>
          </a:bodyPr>
          <a:lstStyle/>
          <a:p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egulation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t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othelial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rrier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&amp;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location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diators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2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32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2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3891" t="57908" r="33891" b="15045"/>
          <a:stretch>
            <a:fillRect/>
          </a:stretch>
        </p:blipFill>
        <p:spPr bwMode="auto">
          <a:xfrm>
            <a:off x="539552" y="1844824"/>
            <a:ext cx="8136904" cy="468052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0" name="Picture 4"/>
          <p:cNvPicPr>
            <a:picLocks noChangeAspect="1" noChangeArrowheads="1"/>
          </p:cNvPicPr>
          <p:nvPr/>
        </p:nvPicPr>
        <p:blipFill>
          <a:blip r:embed="rId2" cstate="print"/>
          <a:srcRect l="50793" t="21700" r="22826" b="62900"/>
          <a:stretch>
            <a:fillRect/>
          </a:stretch>
        </p:blipFill>
        <p:spPr bwMode="auto">
          <a:xfrm>
            <a:off x="395536" y="260648"/>
            <a:ext cx="8352928" cy="1944216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205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3" cstate="print"/>
          <a:srcRect l="39841" t="27607" r="23758" b="58188"/>
          <a:stretch>
            <a:fillRect/>
          </a:stretch>
        </p:blipFill>
        <p:spPr bwMode="auto">
          <a:xfrm>
            <a:off x="395536" y="2780928"/>
            <a:ext cx="4032448" cy="3312368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4" cstate="print"/>
          <a:srcRect l="17325" t="28000" r="40544" b="39101"/>
          <a:stretch>
            <a:fillRect/>
          </a:stretch>
        </p:blipFill>
        <p:spPr bwMode="auto">
          <a:xfrm>
            <a:off x="4716016" y="2780928"/>
            <a:ext cx="4104456" cy="3312368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Freccia in giù 4"/>
          <p:cNvSpPr/>
          <p:nvPr/>
        </p:nvSpPr>
        <p:spPr>
          <a:xfrm>
            <a:off x="107504" y="260648"/>
            <a:ext cx="216024" cy="1872208"/>
          </a:xfrm>
          <a:prstGeom prst="downArrow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179512" y="116632"/>
            <a:ext cx="8784976" cy="108012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ator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mmune </a:t>
            </a:r>
            <a:b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d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ory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ponse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7829" t="23139" r="27883" b="46924"/>
          <a:stretch>
            <a:fillRect/>
          </a:stretch>
        </p:blipFill>
        <p:spPr bwMode="auto">
          <a:xfrm>
            <a:off x="1763688" y="1268760"/>
            <a:ext cx="5976664" cy="1368152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2051" name="Picture 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26500" t="33003" r="27903" b="23002"/>
          <a:stretch>
            <a:fillRect/>
          </a:stretch>
        </p:blipFill>
        <p:spPr bwMode="auto">
          <a:xfrm>
            <a:off x="251520" y="2780928"/>
            <a:ext cx="8640960" cy="381642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Autofit/>
          </a:bodyPr>
          <a:lstStyle/>
          <a:p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ownregulates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ic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3600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endParaRPr lang="it-IT" sz="36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6887" t="14951" r="20467" b="3908"/>
          <a:stretch>
            <a:fillRect/>
          </a:stretch>
        </p:blipFill>
        <p:spPr bwMode="auto">
          <a:xfrm>
            <a:off x="467544" y="1628800"/>
            <a:ext cx="8136904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652120" y="6381328"/>
            <a:ext cx="2952328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Arroyo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V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 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115212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nction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uma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um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0" y="2348880"/>
            <a:ext cx="4716016" cy="79208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the major </a:t>
            </a:r>
          </a:p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ntiapoptotic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signaling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gent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0" y="1484784"/>
            <a:ext cx="4716016" cy="72008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nhibit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TNF alfa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synthesi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0" y="3284984"/>
            <a:ext cx="4716016" cy="115212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nternalize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or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nhibit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endosomal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TLR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signaling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in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leucocyte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from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patient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decompensated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cirrhosi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9" name="Rettangolo 8"/>
          <p:cNvSpPr/>
          <p:nvPr/>
        </p:nvSpPr>
        <p:spPr>
          <a:xfrm>
            <a:off x="0" y="4581128"/>
            <a:ext cx="4716016" cy="936104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nfusio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induce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restoratio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lysophosfatidylcholine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   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0" y="5661248"/>
            <a:ext cx="9144000" cy="1196752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bnormalitie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 (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reversible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irreversible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xydatio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the cysteine-34 residue ,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glycosylatio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, N- and C-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truncation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and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homodimerisatio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)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worsen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         in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parallel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the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severity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f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cirrhosi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maximal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bundance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in ACLF   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409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19869" t="29838" r="19509" b="12057"/>
          <a:stretch>
            <a:fillRect/>
          </a:stretch>
        </p:blipFill>
        <p:spPr bwMode="auto">
          <a:xfrm>
            <a:off x="4788024" y="2492896"/>
            <a:ext cx="4248472" cy="3024336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11" name="Rettangolo 10"/>
          <p:cNvSpPr/>
          <p:nvPr/>
        </p:nvSpPr>
        <p:spPr>
          <a:xfrm>
            <a:off x="4788024" y="1484784"/>
            <a:ext cx="4248472" cy="1008112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Albumin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Oxydated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Fractions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in </a:t>
            </a:r>
          </a:p>
          <a:p>
            <a:pPr algn="ctr"/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Liver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Decompensated</a:t>
            </a:r>
            <a:r>
              <a:rPr lang="it-IT" sz="20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2000" b="1" dirty="0" err="1" smtClean="0">
                <a:solidFill>
                  <a:schemeClr val="tx2">
                    <a:lumMod val="75000"/>
                  </a:schemeClr>
                </a:solidFill>
              </a:rPr>
              <a:t>Cirrhosis</a:t>
            </a:r>
            <a:endParaRPr lang="it-IT" sz="20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xfrm>
            <a:off x="457200" y="188640"/>
            <a:ext cx="8363272" cy="1228998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ytokine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, PCR and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rreversible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xidized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3284" t="22597" r="52204" b="19367"/>
          <a:stretch>
            <a:fillRect/>
          </a:stretch>
        </p:blipFill>
        <p:spPr bwMode="auto">
          <a:xfrm>
            <a:off x="539552" y="1556792"/>
            <a:ext cx="8064896" cy="4536504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8" name="Rettangolo 7"/>
          <p:cNvSpPr/>
          <p:nvPr/>
        </p:nvSpPr>
        <p:spPr>
          <a:xfrm>
            <a:off x="5220072" y="6381328"/>
            <a:ext cx="3384376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Bernardi M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Gu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February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2020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olo 4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rum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ive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3308" t="27679" r="16887" b="10272"/>
          <a:stretch>
            <a:fillRect/>
          </a:stretch>
        </p:blipFill>
        <p:spPr bwMode="auto">
          <a:xfrm>
            <a:off x="467544" y="1628800"/>
            <a:ext cx="8208912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ttangolo 7"/>
          <p:cNvSpPr/>
          <p:nvPr/>
        </p:nvSpPr>
        <p:spPr>
          <a:xfrm>
            <a:off x="4499992" y="6309320"/>
            <a:ext cx="4176464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Bernardi M. J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Translationa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n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Med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2023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210146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 </a:t>
            </a:r>
            <a:b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igh vs Low dose </a:t>
            </a:r>
            <a:endParaRPr lang="it-IT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25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4942" t="49953" r="27627" b="21409"/>
          <a:stretch>
            <a:fillRect/>
          </a:stretch>
        </p:blipFill>
        <p:spPr bwMode="auto">
          <a:xfrm>
            <a:off x="539552" y="1916832"/>
            <a:ext cx="8208912" cy="3960440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4644008" y="6237312"/>
            <a:ext cx="4032448" cy="432048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Fernandez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J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Gastroenterology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,2019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tangolo arrotondato 3"/>
          <p:cNvSpPr/>
          <p:nvPr/>
        </p:nvSpPr>
        <p:spPr>
          <a:xfrm>
            <a:off x="395536" y="1844824"/>
            <a:ext cx="8496944" cy="4248472"/>
          </a:xfrm>
          <a:prstGeom prst="round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buFont typeface="Arial" pitchFamily="34" charset="0"/>
              <a:buChar char="•"/>
            </a:pPr>
            <a:r>
              <a:rPr lang="it-IT" sz="2400" b="1" i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Develop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a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rsonalised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pproach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placement</a:t>
            </a:r>
            <a:endParaRPr lang="it-IT" sz="2400" b="1" i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it-IT" sz="2400" b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buFont typeface="Arial" pitchFamily="34" charset="0"/>
              <a:buChar char="•"/>
            </a:pPr>
            <a:r>
              <a:rPr lang="it-IT" sz="2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timis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olutio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endParaRPr lang="it-IT" sz="2400" b="1" i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buFont typeface="Arial" pitchFamily="34" charset="0"/>
              <a:buChar char="•"/>
            </a:pP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tter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derstand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iology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endParaRPr lang="it-IT" sz="2400" b="1" i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>
              <a:buFont typeface="Arial" pitchFamily="34" charset="0"/>
              <a:buChar char="•"/>
            </a:pP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wait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going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future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ial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4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Rettangolo 2"/>
          <p:cNvSpPr/>
          <p:nvPr/>
        </p:nvSpPr>
        <p:spPr>
          <a:xfrm>
            <a:off x="683568" y="260648"/>
            <a:ext cx="7992888" cy="1152128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ture </a:t>
            </a:r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espectives</a:t>
            </a:r>
            <a:r>
              <a:rPr lang="it-IT" sz="4400" b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4400" b="1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50C5DC"/>
          </a:solidFill>
          <a:ln>
            <a:solidFill>
              <a:srgbClr val="36BBD6"/>
            </a:solidFill>
          </a:ln>
        </p:spPr>
        <p:txBody>
          <a:bodyPr/>
          <a:lstStyle/>
          <a:p>
            <a:endParaRPr lang="it-IT" dirty="0"/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9376" t="20876" r="18500" b="22587"/>
          <a:stretch>
            <a:fillRect/>
          </a:stretch>
        </p:blipFill>
        <p:spPr bwMode="auto">
          <a:xfrm>
            <a:off x="107504" y="1772816"/>
            <a:ext cx="8568952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90" name="Picture 2"/>
          <p:cNvPicPr/>
          <p:nvPr/>
        </p:nvPicPr>
        <p:blipFill>
          <a:blip r:embed="rId3" cstate="print"/>
          <a:stretch/>
        </p:blipFill>
        <p:spPr>
          <a:xfrm>
            <a:off x="0" y="1557360"/>
            <a:ext cx="9143640" cy="3263400"/>
          </a:xfrm>
          <a:prstGeom prst="rect">
            <a:avLst/>
          </a:prstGeom>
          <a:ln w="57240">
            <a:noFill/>
          </a:ln>
        </p:spPr>
      </p:pic>
      <p:sp>
        <p:nvSpPr>
          <p:cNvPr id="3091" name="CustomShape 1"/>
          <p:cNvSpPr/>
          <p:nvPr/>
        </p:nvSpPr>
        <p:spPr>
          <a:xfrm>
            <a:off x="436680" y="5157720"/>
            <a:ext cx="1655280" cy="1079280"/>
          </a:xfrm>
          <a:prstGeom prst="rightArrow">
            <a:avLst>
              <a:gd name="adj1" fmla="val 50000"/>
              <a:gd name="adj2" fmla="val 50013"/>
            </a:avLst>
          </a:prstGeom>
          <a:solidFill>
            <a:srgbClr val="FFFF00"/>
          </a:solidFill>
          <a:ln w="9360">
            <a:solidFill>
              <a:srgbClr val="000000"/>
            </a:solidFill>
            <a:miter/>
          </a:ln>
          <a:effectLst>
            <a:outerShdw blurRad="40000" dist="23000" dir="5400000" rotWithShape="0">
              <a:srgbClr val="80808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92" name="CustomShape 2"/>
          <p:cNvSpPr/>
          <p:nvPr/>
        </p:nvSpPr>
        <p:spPr>
          <a:xfrm>
            <a:off x="2484360" y="5013360"/>
            <a:ext cx="2592000" cy="1368000"/>
          </a:xfrm>
          <a:prstGeom prst="rightArrow">
            <a:avLst>
              <a:gd name="adj1" fmla="val 50000"/>
              <a:gd name="adj2" fmla="val 49992"/>
            </a:avLst>
          </a:prstGeom>
          <a:solidFill>
            <a:srgbClr val="FF6600"/>
          </a:solidFill>
          <a:ln w="9360">
            <a:solidFill>
              <a:srgbClr val="000000"/>
            </a:solidFill>
            <a:miter/>
          </a:ln>
          <a:effectLst>
            <a:outerShdw blurRad="40000" dist="23000" dir="5400000" rotWithShape="0">
              <a:srgbClr val="80808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93" name="CustomShape 3"/>
          <p:cNvSpPr/>
          <p:nvPr/>
        </p:nvSpPr>
        <p:spPr>
          <a:xfrm>
            <a:off x="5508720" y="4869000"/>
            <a:ext cx="3384360" cy="1584000"/>
          </a:xfrm>
          <a:prstGeom prst="rightArrow">
            <a:avLst>
              <a:gd name="adj1" fmla="val 50000"/>
              <a:gd name="adj2" fmla="val 49995"/>
            </a:avLst>
          </a:prstGeom>
          <a:solidFill>
            <a:srgbClr val="FF0000"/>
          </a:solidFill>
          <a:ln w="9360">
            <a:solidFill>
              <a:srgbClr val="000000"/>
            </a:solidFill>
            <a:miter/>
          </a:ln>
          <a:effectLst>
            <a:outerShdw blurRad="40000" dist="23000" dir="5400000" rotWithShape="0">
              <a:srgbClr val="808080">
                <a:alpha val="35000"/>
              </a:srgb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3094" name="CustomShape 4"/>
          <p:cNvSpPr/>
          <p:nvPr/>
        </p:nvSpPr>
        <p:spPr>
          <a:xfrm>
            <a:off x="380520" y="5445000"/>
            <a:ext cx="1549800" cy="5832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80000"/>
              </a:lnSpc>
            </a:pPr>
            <a:r>
              <a:rPr lang="it-IT" sz="18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DISEASE 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80000"/>
              </a:lnSpc>
            </a:pPr>
            <a:r>
              <a:rPr lang="it-IT" sz="18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PROGRESSION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095" name="CustomShape 5"/>
          <p:cNvSpPr/>
          <p:nvPr/>
        </p:nvSpPr>
        <p:spPr>
          <a:xfrm>
            <a:off x="2797560" y="5351400"/>
            <a:ext cx="1549800" cy="58392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80000"/>
              </a:lnSpc>
            </a:pPr>
            <a:r>
              <a:rPr lang="it-IT" sz="1800" b="1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DISEASE </a:t>
            </a:r>
            <a:endParaRPr lang="it-IT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80000"/>
              </a:lnSpc>
            </a:pPr>
            <a:r>
              <a:rPr lang="it-IT" sz="1800" b="1" strike="noStrike" spc="-1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PROGRESSION</a:t>
            </a:r>
            <a:endParaRPr lang="it-IT" sz="1800" b="0" strike="noStrike" spc="-1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096" name="CustomShape 6"/>
          <p:cNvSpPr/>
          <p:nvPr/>
        </p:nvSpPr>
        <p:spPr>
          <a:xfrm>
            <a:off x="5741280" y="5229360"/>
            <a:ext cx="2615040" cy="9669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ctr">
              <a:lnSpc>
                <a:spcPct val="80000"/>
              </a:lnSpc>
            </a:pPr>
            <a:r>
              <a:rPr lang="it-IT" sz="32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DISEASE 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  <a:p>
            <a:pPr algn="ctr">
              <a:lnSpc>
                <a:spcPct val="80000"/>
              </a:lnSpc>
            </a:pPr>
            <a:r>
              <a:rPr lang="it-IT" sz="3200" b="1" strike="noStrike" spc="-1" dirty="0">
                <a:solidFill>
                  <a:srgbClr val="000000"/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PROGRESSION</a:t>
            </a:r>
            <a:endParaRPr lang="it-IT" sz="1800" b="0" strike="noStrike" spc="-1" dirty="0">
              <a:solidFill>
                <a:srgbClr val="000000"/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097" name="CustomShape 7"/>
          <p:cNvSpPr/>
          <p:nvPr/>
        </p:nvSpPr>
        <p:spPr>
          <a:xfrm>
            <a:off x="6372200" y="6550200"/>
            <a:ext cx="2599720" cy="30348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none" lIns="90000" tIns="45000" rIns="90000" bIns="45000"/>
          <a:lstStyle/>
          <a:p>
            <a:pPr algn="r">
              <a:lnSpc>
                <a:spcPct val="100000"/>
              </a:lnSpc>
            </a:pPr>
            <a:r>
              <a:rPr lang="it-IT" sz="1600" b="1" i="1" strike="noStrike" spc="-1" dirty="0">
                <a:solidFill>
                  <a:schemeClr val="tx2">
                    <a:lumMod val="75000"/>
                  </a:schemeClr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Ge PS </a:t>
            </a:r>
            <a:r>
              <a:rPr lang="it-IT" sz="1600" b="1" i="1" strike="noStrike" spc="-1" dirty="0" err="1">
                <a:solidFill>
                  <a:schemeClr val="tx2">
                    <a:lumMod val="75000"/>
                  </a:schemeClr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et</a:t>
            </a:r>
            <a:r>
              <a:rPr lang="it-IT" sz="1600" b="1" i="1" strike="noStrike" spc="-1" dirty="0">
                <a:solidFill>
                  <a:schemeClr val="tx2">
                    <a:lumMod val="75000"/>
                  </a:schemeClr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al. NEJM 2016</a:t>
            </a:r>
            <a:endParaRPr lang="it-IT" sz="1600" b="1" strike="noStrike" spc="-1" dirty="0">
              <a:solidFill>
                <a:schemeClr val="tx2">
                  <a:lumMod val="75000"/>
                </a:schemeClr>
              </a:solidFill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098" name="CustomShape 8"/>
          <p:cNvSpPr/>
          <p:nvPr/>
        </p:nvSpPr>
        <p:spPr>
          <a:xfrm>
            <a:off x="323528" y="116632"/>
            <a:ext cx="8568952" cy="1224136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ctr">
              <a:lnSpc>
                <a:spcPct val="100000"/>
              </a:lnSpc>
            </a:pPr>
            <a:r>
              <a:rPr lang="it-IT" sz="2800" b="1" strike="noStrike" spc="-1" dirty="0" smtClean="0">
                <a:solidFill>
                  <a:schemeClr val="accent3">
                    <a:lumMod val="50000"/>
                  </a:schemeClr>
                </a:solidFill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Gut</a:t>
            </a:r>
            <a:r>
              <a:rPr lang="it-IT" sz="3600" b="1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Bacterial</a:t>
            </a:r>
            <a:r>
              <a:rPr lang="it-IT" sz="3600" b="1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Translocation</a:t>
            </a:r>
            <a:r>
              <a:rPr lang="it-IT" sz="3600" b="1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Has</a:t>
            </a:r>
            <a:r>
              <a:rPr lang="it-IT" sz="3600" b="1" strike="noStrike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pc="-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a</a:t>
            </a:r>
            <a:r>
              <a:rPr lang="it-IT" sz="3600" b="1" strike="noStrike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Prognostic</a:t>
            </a:r>
            <a:r>
              <a:rPr lang="it-IT" sz="3600" b="1" strike="noStrike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Value</a:t>
            </a:r>
            <a:r>
              <a:rPr lang="it-IT" sz="3600" b="1" strike="noStrike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In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Liver</a:t>
            </a:r>
            <a:r>
              <a:rPr lang="it-IT" sz="3600" b="1" strike="noStrike" spc="-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 </a:t>
            </a:r>
            <a:r>
              <a:rPr lang="it-IT" sz="3600" b="1" strike="noStrike" spc="-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Fill>
                  <a:solidFill>
                    <a:srgbClr val="FFFFFF"/>
                  </a:solidFill>
                </a:uFill>
                <a:latin typeface="Calibri"/>
                <a:ea typeface="MS PGothic"/>
              </a:rPr>
              <a:t>Cirrhosis</a:t>
            </a:r>
            <a:endParaRPr lang="it-IT" sz="3600" b="1" strike="noStrike" spc="-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Fill>
                <a:solidFill>
                  <a:srgbClr val="FFFFFF"/>
                </a:solidFill>
              </a:uFill>
              <a:latin typeface="Arial"/>
            </a:endParaRPr>
          </a:p>
        </p:txBody>
      </p:sp>
      <p:sp>
        <p:nvSpPr>
          <p:cNvPr id="3099" name="CustomShape 9"/>
          <p:cNvSpPr/>
          <p:nvPr/>
        </p:nvSpPr>
        <p:spPr>
          <a:xfrm>
            <a:off x="5724360" y="3562920"/>
            <a:ext cx="1476000" cy="803520"/>
          </a:xfrm>
          <a:prstGeom prst="ellipse">
            <a:avLst/>
          </a:prstGeom>
          <a:noFill/>
          <a:ln w="38160">
            <a:solidFill>
              <a:srgbClr val="FF0000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/>
        </p:style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eiotropic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ct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tatin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mall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TPase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the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2413" t="27679" r="41051" b="26182"/>
          <a:stretch>
            <a:fillRect/>
          </a:stretch>
        </p:blipFill>
        <p:spPr bwMode="auto">
          <a:xfrm>
            <a:off x="467544" y="1700808"/>
            <a:ext cx="8280920" cy="453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5508104" y="6381328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Pose E.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,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july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2018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323528" y="274638"/>
            <a:ext cx="8363272" cy="1143000"/>
          </a:xfrm>
          <a:solidFill>
            <a:srgbClr val="36BBD6"/>
          </a:solidFill>
          <a:ln>
            <a:solidFill>
              <a:srgbClr val="50C5DC"/>
            </a:solidFill>
          </a:ln>
        </p:spPr>
        <p:txBody>
          <a:bodyPr>
            <a:normAutofit fontScale="90000"/>
          </a:bodyPr>
          <a:lstStyle/>
          <a:p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bumin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ycling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y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othelial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ell</a:t>
            </a:r>
            <a:endParaRPr lang="it-IT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362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13250" t="16646" r="53386" b="29512"/>
          <a:stretch>
            <a:fillRect/>
          </a:stretch>
        </p:blipFill>
        <p:spPr bwMode="auto">
          <a:xfrm>
            <a:off x="251520" y="1556792"/>
            <a:ext cx="4680520" cy="4968552"/>
          </a:xfrm>
          <a:prstGeom prst="rect">
            <a:avLst/>
          </a:prstGeom>
          <a:noFill/>
          <a:ln w="9525">
            <a:solidFill>
              <a:srgbClr val="50C5DC"/>
            </a:solidFill>
            <a:miter lim="800000"/>
            <a:headEnd/>
            <a:tailEnd/>
          </a:ln>
        </p:spPr>
      </p:pic>
      <p:pic>
        <p:nvPicPr>
          <p:cNvPr id="15363" name="Picture 3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print"/>
          <a:srcRect l="12377" t="18208" r="51963" b="18396"/>
          <a:stretch>
            <a:fillRect/>
          </a:stretch>
        </p:blipFill>
        <p:spPr bwMode="auto">
          <a:xfrm>
            <a:off x="5004048" y="1556792"/>
            <a:ext cx="4032448" cy="4896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1340768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 fontScale="90000"/>
          </a:bodyPr>
          <a:lstStyle/>
          <a:p>
            <a:r>
              <a:rPr lang="it-IT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regulation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gut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ndothelial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arrier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&amp;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nslocatio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diator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flammation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36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endParaRPr lang="it-IT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4190" t="13360" r="13012"/>
          <a:stretch>
            <a:fillRect/>
          </a:stretch>
        </p:blipFill>
        <p:spPr bwMode="auto">
          <a:xfrm>
            <a:off x="0" y="1268760"/>
            <a:ext cx="9144000" cy="5589240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</p:spPr>
      </p:pic>
      <p:sp>
        <p:nvSpPr>
          <p:cNvPr id="7" name="CasellaDiTesto 6"/>
          <p:cNvSpPr txBox="1"/>
          <p:nvPr/>
        </p:nvSpPr>
        <p:spPr>
          <a:xfrm>
            <a:off x="3563888" y="6381328"/>
            <a:ext cx="2016224" cy="338554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Cani P. D. 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Gut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2018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asellaDiTesto 8">
            <a:extLst>
              <a:ext uri="{FF2B5EF4-FFF2-40B4-BE49-F238E27FC236}">
                <a16:creationId xmlns="" xmlns:a16="http://schemas.microsoft.com/office/drawing/2014/main" id="{79D97F06-8678-464A-953F-7A9FE4AA8034}"/>
              </a:ext>
            </a:extLst>
          </p:cNvPr>
          <p:cNvSpPr txBox="1"/>
          <p:nvPr/>
        </p:nvSpPr>
        <p:spPr>
          <a:xfrm>
            <a:off x="5940152" y="6515099"/>
            <a:ext cx="3024336" cy="338554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pPr algn="r"/>
            <a:r>
              <a:rPr lang="sv-SE" sz="1600" b="1" i="1" dirty="0">
                <a:solidFill>
                  <a:schemeClr val="tx2">
                    <a:lumMod val="75000"/>
                  </a:schemeClr>
                </a:solidFill>
              </a:rPr>
              <a:t>J. Clin. Med. 2023, 12, </a:t>
            </a:r>
            <a:r>
              <a:rPr lang="sv-SE" sz="1600" b="1" i="1" dirty="0" smtClean="0">
                <a:solidFill>
                  <a:schemeClr val="tx2">
                    <a:lumMod val="75000"/>
                  </a:schemeClr>
                </a:solidFill>
              </a:rPr>
              <a:t>221</a:t>
            </a:r>
            <a:r>
              <a:rPr lang="sv-SE" sz="1600" b="1" dirty="0" smtClean="0">
                <a:solidFill>
                  <a:schemeClr val="tx2">
                    <a:lumMod val="75000"/>
                  </a:schemeClr>
                </a:solidFill>
              </a:rPr>
              <a:t>0 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3" name="Immagine 2">
            <a:extLst>
              <a:ext uri="{FF2B5EF4-FFF2-40B4-BE49-F238E27FC236}">
                <a16:creationId xmlns="" xmlns:a16="http://schemas.microsoft.com/office/drawing/2014/main" id="{64D24C0A-9688-42D6-ADA6-7DB00DBCC797}"/>
              </a:ext>
            </a:extLst>
          </p:cNvPr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03358" y="1268760"/>
            <a:ext cx="8689122" cy="4536504"/>
          </a:xfrm>
          <a:prstGeom prst="rect">
            <a:avLst/>
          </a:prstGeom>
        </p:spPr>
      </p:pic>
      <p:sp>
        <p:nvSpPr>
          <p:cNvPr id="6" name="CasellaDiTesto 5">
            <a:extLst>
              <a:ext uri="{FF2B5EF4-FFF2-40B4-BE49-F238E27FC236}">
                <a16:creationId xmlns="" xmlns:a16="http://schemas.microsoft.com/office/drawing/2014/main" id="{50FFDD09-D117-47B3-A4C3-F8CC27EC61EE}"/>
              </a:ext>
            </a:extLst>
          </p:cNvPr>
          <p:cNvSpPr txBox="1"/>
          <p:nvPr/>
        </p:nvSpPr>
        <p:spPr>
          <a:xfrm rot="10800000" flipV="1">
            <a:off x="395536" y="5865511"/>
            <a:ext cx="8568952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it-IT" sz="1000" dirty="0" smtClean="0"/>
              <a:t>CPS </a:t>
            </a:r>
            <a:r>
              <a:rPr lang="it-IT" sz="1000" dirty="0"/>
              <a:t>(A) e distribuzione della classe Child-Pugh (B) a 12 mesi di somministrazione di </a:t>
            </a:r>
            <a:r>
              <a:rPr lang="it-IT" sz="1000" dirty="0" err="1" smtClean="0"/>
              <a:t>Rifaximina</a:t>
            </a:r>
            <a:r>
              <a:rPr lang="it-IT" sz="1000" dirty="0" smtClean="0"/>
              <a:t>. La </a:t>
            </a:r>
            <a:r>
              <a:rPr lang="it-IT" sz="1000" dirty="0"/>
              <a:t>distribuzione delle modifiche nei parametri CPS nel gruppo di miglioramento CPS e CPS gruppo di non miglioramento a 12 mesi di somministrazione di </a:t>
            </a:r>
            <a:r>
              <a:rPr lang="it-IT" sz="1000" dirty="0" err="1"/>
              <a:t>Rifaximina</a:t>
            </a:r>
            <a:r>
              <a:rPr lang="it-IT" sz="1000" dirty="0"/>
              <a:t> (C). </a:t>
            </a:r>
            <a:r>
              <a:rPr lang="it-IT" sz="1000" dirty="0" smtClean="0"/>
              <a:t>Rapporto </a:t>
            </a:r>
            <a:r>
              <a:rPr lang="it-IT" sz="1000" dirty="0"/>
              <a:t>di miglioramento dei  livelli di CRP nel gruppo con miglioramento dell'albumina e nel gruppo con non miglioramento dell'albumina a 12 mesi di somministrazione  di </a:t>
            </a:r>
            <a:r>
              <a:rPr lang="it-IT" sz="1000" dirty="0" err="1"/>
              <a:t>Rifaximina</a:t>
            </a:r>
            <a:r>
              <a:rPr lang="it-IT" sz="1000" dirty="0"/>
              <a:t> (D). </a:t>
            </a:r>
            <a:r>
              <a:rPr lang="it-IT" sz="1000" dirty="0" smtClean="0"/>
              <a:t> Rapporto </a:t>
            </a:r>
            <a:r>
              <a:rPr lang="it-IT" sz="1000" dirty="0"/>
              <a:t>di miglioramento della CPS a 12 mesi di somministrazione di </a:t>
            </a:r>
            <a:r>
              <a:rPr lang="it-IT" sz="1000" dirty="0" err="1"/>
              <a:t>Rifaximina</a:t>
            </a:r>
            <a:r>
              <a:rPr lang="it-IT" sz="1000" dirty="0"/>
              <a:t> nel gruppo con miglioramento di CAR e nel gruppo di non miglioramento di CAR a 3 mesi (E). </a:t>
            </a:r>
            <a:endParaRPr lang="it-IT" b="1" dirty="0">
              <a:solidFill>
                <a:schemeClr val="accent1"/>
              </a:solidFill>
            </a:endParaRPr>
          </a:p>
        </p:txBody>
      </p:sp>
      <p:sp>
        <p:nvSpPr>
          <p:cNvPr id="5" name="Rettangolo 4"/>
          <p:cNvSpPr/>
          <p:nvPr/>
        </p:nvSpPr>
        <p:spPr>
          <a:xfrm>
            <a:off x="395536" y="116632"/>
            <a:ext cx="8424936" cy="1080120"/>
          </a:xfrm>
          <a:prstGeom prst="rect">
            <a:avLst/>
          </a:prstGeom>
          <a:solidFill>
            <a:srgbClr val="50C5DC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a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er dodici mesi</a:t>
            </a:r>
          </a:p>
          <a:p>
            <a:pPr algn="ctr"/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igliora PCR , Albumina e CPS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44394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magine 2">
            <a:extLst>
              <a:ext uri="{FF2B5EF4-FFF2-40B4-BE49-F238E27FC236}">
                <a16:creationId xmlns:a16="http://schemas.microsoft.com/office/drawing/2014/main" xmlns="" id="{924F9EE7-0D2B-4A17-9C32-5507D3907E4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/>
          <a:srcRect r="47013"/>
          <a:stretch/>
        </p:blipFill>
        <p:spPr>
          <a:xfrm>
            <a:off x="323528" y="1844824"/>
            <a:ext cx="3816424" cy="3600400"/>
          </a:xfrm>
          <a:prstGeom prst="rect">
            <a:avLst/>
          </a:prstGeom>
          <a:ln>
            <a:solidFill>
              <a:srgbClr val="50C5DC"/>
            </a:solidFill>
          </a:ln>
        </p:spPr>
      </p:pic>
      <p:sp>
        <p:nvSpPr>
          <p:cNvPr id="5" name="CasellaDiTesto 4">
            <a:extLst>
              <a:ext uri="{FF2B5EF4-FFF2-40B4-BE49-F238E27FC236}">
                <a16:creationId xmlns:a16="http://schemas.microsoft.com/office/drawing/2014/main" xmlns="" id="{546B3D54-5433-49EC-9674-C4609CB1192A}"/>
              </a:ext>
            </a:extLst>
          </p:cNvPr>
          <p:cNvSpPr txBox="1"/>
          <p:nvPr/>
        </p:nvSpPr>
        <p:spPr>
          <a:xfrm>
            <a:off x="4427984" y="2348880"/>
            <a:ext cx="4464496" cy="2523768"/>
          </a:xfrm>
          <a:prstGeom prst="rect">
            <a:avLst/>
          </a:prstGeom>
          <a:noFill/>
          <a:ln>
            <a:solidFill>
              <a:srgbClr val="36BBD6"/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it-IT" sz="1600" b="1" dirty="0">
              <a:highlight>
                <a:srgbClr val="FFFF00"/>
              </a:highlight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it-IT" sz="1600" b="1" dirty="0" err="1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 sopprime le specie </a:t>
            </a:r>
            <a:r>
              <a:rPr lang="it-IT" sz="1600" b="1" dirty="0" err="1">
                <a:solidFill>
                  <a:schemeClr val="tx2">
                    <a:lumMod val="75000"/>
                  </a:schemeClr>
                </a:solidFill>
              </a:rPr>
              <a:t>mucino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 degradanti ricche in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sialidasi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( </a:t>
            </a:r>
            <a:r>
              <a:rPr lang="it-IT" sz="1600" b="1" i="1" u="sng" dirty="0" err="1" smtClean="0">
                <a:solidFill>
                  <a:schemeClr val="tx2">
                    <a:lumMod val="75000"/>
                  </a:schemeClr>
                </a:solidFill>
              </a:rPr>
              <a:t>Streptococcus</a:t>
            </a:r>
            <a:r>
              <a:rPr lang="it-IT" sz="1600" b="1" i="1" u="sng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u="sng" dirty="0">
                <a:solidFill>
                  <a:schemeClr val="tx2">
                    <a:lumMod val="75000"/>
                  </a:schemeClr>
                </a:solidFill>
              </a:rPr>
              <a:t>spp e </a:t>
            </a:r>
            <a:r>
              <a:rPr lang="it-IT" sz="1600" b="1" i="1" u="sng" dirty="0" err="1">
                <a:solidFill>
                  <a:schemeClr val="tx2">
                    <a:lumMod val="75000"/>
                  </a:schemeClr>
                </a:solidFill>
              </a:rPr>
              <a:t>Veillonella</a:t>
            </a:r>
            <a:r>
              <a:rPr lang="it-IT" sz="1600" b="1" i="1" u="sng" dirty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i="1" u="sng" dirty="0" err="1" smtClean="0">
                <a:solidFill>
                  <a:schemeClr val="tx2">
                    <a:lumMod val="75000"/>
                  </a:schemeClr>
                </a:solidFill>
              </a:rPr>
              <a:t>spp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)</a:t>
            </a:r>
            <a:endParaRPr lang="it-IT" sz="1600" b="1" dirty="0">
              <a:solidFill>
                <a:schemeClr val="tx2">
                  <a:lumMod val="75000"/>
                </a:schemeClr>
              </a:solidFill>
            </a:endParaRPr>
          </a:p>
          <a:p>
            <a:endParaRPr lang="it-IT" sz="1600" b="1" dirty="0"/>
          </a:p>
          <a:p>
            <a:r>
              <a:rPr lang="it-IT" sz="1600" b="1" dirty="0" smtClean="0"/>
              <a:t>C  -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Rifaximina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riduce la crescita nelle feci 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delle</a:t>
            </a:r>
          </a:p>
          <a:p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      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specie  </a:t>
            </a:r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di 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origine orale con capacità </a:t>
            </a:r>
            <a:r>
              <a:rPr lang="it-IT" sz="1600" b="1" dirty="0" err="1" smtClean="0">
                <a:solidFill>
                  <a:schemeClr val="tx2">
                    <a:lumMod val="75000"/>
                  </a:schemeClr>
                </a:solidFill>
              </a:rPr>
              <a:t>mucino-</a:t>
            </a:r>
            <a:endParaRPr lang="it-IT" sz="16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it-IT" sz="1600" b="1" dirty="0" smtClean="0">
                <a:solidFill>
                  <a:schemeClr val="tx2">
                    <a:lumMod val="75000"/>
                  </a:schemeClr>
                </a:solidFill>
              </a:rPr>
              <a:t>       degradanti </a:t>
            </a:r>
            <a:r>
              <a:rPr lang="it-IT" sz="1600" b="1" dirty="0">
                <a:solidFill>
                  <a:schemeClr val="tx2">
                    <a:lumMod val="75000"/>
                  </a:schemeClr>
                </a:solidFill>
              </a:rPr>
              <a:t>e virulenza ai giorni 30 e 90</a:t>
            </a:r>
          </a:p>
          <a:p>
            <a:endParaRPr lang="it-IT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it-IT" sz="1400" b="0" i="0" u="none" strike="noStrike" baseline="0" dirty="0">
              <a:latin typeface="Roboto" panose="02000000000000000000" pitchFamily="2" charset="0"/>
            </a:endParaRPr>
          </a:p>
        </p:txBody>
      </p:sp>
      <p:cxnSp>
        <p:nvCxnSpPr>
          <p:cNvPr id="7" name="Connettore 1 6">
            <a:extLst>
              <a:ext uri="{FF2B5EF4-FFF2-40B4-BE49-F238E27FC236}">
                <a16:creationId xmlns:a16="http://schemas.microsoft.com/office/drawing/2014/main" xmlns="" id="{7A36FF50-7FF1-4D70-8F57-4232F1BCF715}"/>
              </a:ext>
            </a:extLst>
          </p:cNvPr>
          <p:cNvCxnSpPr>
            <a:cxnSpLocks/>
          </p:cNvCxnSpPr>
          <p:nvPr/>
        </p:nvCxnSpPr>
        <p:spPr>
          <a:xfrm>
            <a:off x="298831" y="782476"/>
            <a:ext cx="2024492" cy="0"/>
          </a:xfrm>
          <a:prstGeom prst="line">
            <a:avLst/>
          </a:prstGeom>
          <a:ln w="19050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Graphique 1">
            <a:extLst>
              <a:ext uri="{FF2B5EF4-FFF2-40B4-BE49-F238E27FC236}">
                <a16:creationId xmlns:a16="http://schemas.microsoft.com/office/drawing/2014/main" xmlns="" id="{A2510A94-8300-481B-86BC-8292AD3FDF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59378" y="273894"/>
            <a:ext cx="232641" cy="426822"/>
          </a:xfrm>
          <a:prstGeom prst="rect">
            <a:avLst/>
          </a:prstGeom>
        </p:spPr>
      </p:pic>
      <p:sp>
        <p:nvSpPr>
          <p:cNvPr id="9" name="Rettangolo 8">
            <a:extLst>
              <a:ext uri="{FF2B5EF4-FFF2-40B4-BE49-F238E27FC236}">
                <a16:creationId xmlns:a16="http://schemas.microsoft.com/office/drawing/2014/main" xmlns="" id="{0BE5E4E8-564C-456D-8756-D672E2371E95}"/>
              </a:ext>
            </a:extLst>
          </p:cNvPr>
          <p:cNvSpPr/>
          <p:nvPr/>
        </p:nvSpPr>
        <p:spPr>
          <a:xfrm>
            <a:off x="4427984" y="6378767"/>
            <a:ext cx="4464496" cy="338554"/>
          </a:xfrm>
          <a:prstGeom prst="rect">
            <a:avLst/>
          </a:prstGeom>
          <a:ln>
            <a:solidFill>
              <a:srgbClr val="50C5DC"/>
            </a:solidFill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Patel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V.C.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Shawcross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D.,  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J </a:t>
            </a:r>
            <a:r>
              <a:rPr lang="en-US" sz="1600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en-US" sz="1600" b="1" i="1" dirty="0" err="1" smtClean="0">
                <a:solidFill>
                  <a:schemeClr val="tx2">
                    <a:lumMod val="75000"/>
                  </a:schemeClr>
                </a:solidFill>
              </a:rPr>
              <a:t>vol</a:t>
            </a:r>
            <a:r>
              <a:rPr lang="en-US" sz="1600" b="1" i="1" dirty="0" smtClean="0">
                <a:solidFill>
                  <a:schemeClr val="tx2">
                    <a:lumMod val="75000"/>
                  </a:schemeClr>
                </a:solidFill>
              </a:rPr>
              <a:t> 76 2022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251520" y="188640"/>
            <a:ext cx="8568952" cy="1008112"/>
          </a:xfrm>
          <a:prstGeom prst="rect">
            <a:avLst/>
          </a:prstGeom>
          <a:solidFill>
            <a:srgbClr val="36BBD6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44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etto </a:t>
            </a:r>
            <a:r>
              <a:rPr lang="it-IT" sz="44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ubiotico</a:t>
            </a:r>
            <a:endParaRPr lang="it-IT" sz="44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032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>
          <a:xfrm>
            <a:off x="323528" y="188640"/>
            <a:ext cx="8496944" cy="1228998"/>
          </a:xfrm>
          <a:solidFill>
            <a:srgbClr val="36BBD6"/>
          </a:solidFill>
          <a:ln>
            <a:solidFill>
              <a:srgbClr val="36BBD6"/>
            </a:solidFill>
          </a:ln>
        </p:spPr>
        <p:txBody>
          <a:bodyPr>
            <a:noAutofit/>
          </a:bodyPr>
          <a:lstStyle/>
          <a:p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vastatin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&amp;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odulate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bolomic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phile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ient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ed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8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r>
              <a:rPr lang="it-IT" sz="28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8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Segnaposto contenuto 5"/>
          <p:cNvSpPr>
            <a:spLocks noGrp="1"/>
          </p:cNvSpPr>
          <p:nvPr>
            <p:ph sz="half" idx="2"/>
          </p:nvPr>
        </p:nvSpPr>
        <p:spPr>
          <a:xfrm>
            <a:off x="323528" y="3501008"/>
            <a:ext cx="8496944" cy="2625155"/>
          </a:xfrm>
          <a:solidFill>
            <a:schemeClr val="bg1"/>
          </a:solidFill>
          <a:ln>
            <a:solidFill>
              <a:srgbClr val="36BBD6"/>
            </a:solidFill>
          </a:ln>
        </p:spPr>
        <p:txBody>
          <a:bodyPr>
            <a:noAutofit/>
          </a:bodyPr>
          <a:lstStyle/>
          <a:p>
            <a:pPr algn="ctr">
              <a:buNone/>
            </a:pP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nvastat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faxim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:</a:t>
            </a:r>
          </a:p>
          <a:p>
            <a:pPr>
              <a:buNone/>
            </a:pPr>
            <a:endParaRPr lang="it-IT" sz="2400" b="1" i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y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reas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tein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atabolism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hibit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th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riptophan-kynurenin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athway</a:t>
            </a:r>
            <a:endParaRPr lang="it-IT" sz="2400" b="1" i="1" dirty="0" smtClean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pid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nd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tty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acid plasma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evel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</a:p>
          <a:p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rease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lasmatic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entrantion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condary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bile </a:t>
            </a:r>
            <a:r>
              <a:rPr lang="it-IT" sz="2400" b="1" i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cids</a:t>
            </a:r>
            <a:r>
              <a:rPr lang="it-IT" sz="2400" b="1" i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sz="2400" b="1" i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433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37699" t="21378" r="17726" b="34245"/>
          <a:stretch>
            <a:fillRect/>
          </a:stretch>
        </p:blipFill>
        <p:spPr bwMode="auto">
          <a:xfrm>
            <a:off x="323528" y="1556792"/>
            <a:ext cx="8496944" cy="1800200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solidFill>
            <a:srgbClr val="50C5DC"/>
          </a:solidFill>
          <a:ln>
            <a:solidFill>
              <a:srgbClr val="36BBD6"/>
            </a:solidFill>
          </a:ln>
        </p:spPr>
        <p:txBody>
          <a:bodyPr/>
          <a:lstStyle/>
          <a:p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ysbiosis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in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iver</a:t>
            </a:r>
            <a:r>
              <a:rPr lang="it-IT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irrhosis</a:t>
            </a:r>
            <a:endParaRPr lang="it-IT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3616" t="34853" r="26301" b="22219"/>
          <a:stretch>
            <a:fillRect/>
          </a:stretch>
        </p:blipFill>
        <p:spPr bwMode="auto">
          <a:xfrm>
            <a:off x="539552" y="2132856"/>
            <a:ext cx="8136904" cy="3816424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4644008" y="6381328"/>
            <a:ext cx="4104456" cy="360040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Fan Y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l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Fron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in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Immun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12 , 2021 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363272" cy="1143000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>
            <a:normAutofit/>
          </a:bodyPr>
          <a:lstStyle/>
          <a:p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uced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agenomic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pecies</a:t>
            </a:r>
            <a:r>
              <a:rPr lang="it-IT" sz="3600" b="1" dirty="0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sz="3600" b="1" dirty="0" err="1" smtClean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ichness</a:t>
            </a:r>
            <a:endParaRPr lang="it-IT" sz="3600" b="1" dirty="0">
              <a:solidFill>
                <a:schemeClr val="tx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3659" t="34785" r="42298" b="34879"/>
          <a:stretch>
            <a:fillRect/>
          </a:stretch>
        </p:blipFill>
        <p:spPr bwMode="auto">
          <a:xfrm>
            <a:off x="539552" y="2060848"/>
            <a:ext cx="8136904" cy="4032448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5" name="Rettangolo 4"/>
          <p:cNvSpPr/>
          <p:nvPr/>
        </p:nvSpPr>
        <p:spPr>
          <a:xfrm>
            <a:off x="5364088" y="6381328"/>
            <a:ext cx="3312368" cy="360040"/>
          </a:xfrm>
          <a:prstGeom prst="rect">
            <a:avLst/>
          </a:prstGeom>
          <a:solidFill>
            <a:schemeClr val="bg1"/>
          </a:solidFill>
          <a:ln>
            <a:solidFill>
              <a:srgbClr val="36BBD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Solè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C.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al , </a:t>
            </a:r>
            <a:r>
              <a:rPr lang="it-IT" sz="1600" b="1" i="1" dirty="0" err="1" smtClean="0">
                <a:solidFill>
                  <a:schemeClr val="tx2">
                    <a:lumMod val="75000"/>
                  </a:schemeClr>
                </a:solidFill>
              </a:rPr>
              <a:t>Gastroenterology</a:t>
            </a:r>
            <a:r>
              <a:rPr lang="it-IT" sz="1600" b="1" i="1" dirty="0" smtClean="0">
                <a:solidFill>
                  <a:schemeClr val="tx2">
                    <a:lumMod val="75000"/>
                  </a:schemeClr>
                </a:solidFill>
              </a:rPr>
              <a:t> 2021 </a:t>
            </a:r>
            <a:endParaRPr lang="it-IT" sz="1600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116632"/>
            <a:ext cx="8229600" cy="1224136"/>
          </a:xfrm>
          <a:solidFill>
            <a:srgbClr val="50C5DC"/>
          </a:solidFill>
          <a:ln>
            <a:solidFill>
              <a:srgbClr val="36BBD6"/>
            </a:solidFill>
          </a:ln>
        </p:spPr>
        <p:txBody>
          <a:bodyPr/>
          <a:lstStyle/>
          <a:p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ates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first </a:t>
            </a:r>
            <a:r>
              <a:rPr lang="it-IT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compensation</a:t>
            </a:r>
            <a:r>
              <a:rPr lang="it-IT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endParaRPr lang="it-IT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0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6344" t="22358" r="45876" b="15045"/>
          <a:stretch>
            <a:fillRect/>
          </a:stretch>
        </p:blipFill>
        <p:spPr bwMode="auto">
          <a:xfrm>
            <a:off x="539552" y="1700808"/>
            <a:ext cx="8136904" cy="4536504"/>
          </a:xfrm>
          <a:prstGeom prst="rect">
            <a:avLst/>
          </a:prstGeom>
          <a:noFill/>
          <a:ln w="9525">
            <a:solidFill>
              <a:srgbClr val="36BBD6"/>
            </a:solidFill>
            <a:miter lim="800000"/>
            <a:headEnd/>
            <a:tailEnd/>
          </a:ln>
        </p:spPr>
      </p:pic>
      <p:sp>
        <p:nvSpPr>
          <p:cNvPr id="4" name="Rettangolo 3"/>
          <p:cNvSpPr/>
          <p:nvPr/>
        </p:nvSpPr>
        <p:spPr>
          <a:xfrm>
            <a:off x="5076056" y="6381328"/>
            <a:ext cx="3600400" cy="360040"/>
          </a:xfrm>
          <a:prstGeom prst="rect">
            <a:avLst/>
          </a:prstGeom>
          <a:solidFill>
            <a:schemeClr val="bg1"/>
          </a:solidFill>
          <a:ln>
            <a:solidFill>
              <a:srgbClr val="50C5D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Costa D.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et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al J </a:t>
            </a:r>
            <a:r>
              <a:rPr lang="it-IT" b="1" i="1" dirty="0" err="1" smtClean="0">
                <a:solidFill>
                  <a:schemeClr val="tx2">
                    <a:lumMod val="75000"/>
                  </a:schemeClr>
                </a:solidFill>
              </a:rPr>
              <a:t>Hepatol</a:t>
            </a:r>
            <a:r>
              <a:rPr lang="it-IT" b="1" i="1" dirty="0" smtClean="0">
                <a:solidFill>
                  <a:schemeClr val="tx2">
                    <a:lumMod val="75000"/>
                  </a:schemeClr>
                </a:solidFill>
              </a:rPr>
              <a:t> , 74 , 2021 </a:t>
            </a:r>
            <a:endParaRPr lang="it-IT" b="1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bXf.c10I5WsA1Ccrrwdw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77</TotalTime>
  <Words>2467</Words>
  <Application>Microsoft Office PowerPoint</Application>
  <PresentationFormat>Presentazione su schermo (4:3)</PresentationFormat>
  <Paragraphs>295</Paragraphs>
  <Slides>65</Slides>
  <Notes>6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65</vt:i4>
      </vt:variant>
    </vt:vector>
  </HeadingPairs>
  <TitlesOfParts>
    <vt:vector size="67" baseType="lpstr">
      <vt:lpstr>Tema di Office</vt:lpstr>
      <vt:lpstr>Diapositiva think-cell</vt:lpstr>
      <vt:lpstr>Diapositiva 1</vt:lpstr>
      <vt:lpstr>Diapositiva 2</vt:lpstr>
      <vt:lpstr>CSPH : The Main Predictor of Decompensation </vt:lpstr>
      <vt:lpstr>Inflammation in severe liver disease </vt:lpstr>
      <vt:lpstr>Deregulation of the gut endothelial barrier &amp; Translocation of mediators of inflammation </vt:lpstr>
      <vt:lpstr>Diapositiva 6</vt:lpstr>
      <vt:lpstr>Dysbiosis in Liver Cirrhosis</vt:lpstr>
      <vt:lpstr>Reduced metagenomic species richness</vt:lpstr>
      <vt:lpstr>Rates of first decompensation </vt:lpstr>
      <vt:lpstr>PREDICT STUDY</vt:lpstr>
      <vt:lpstr>Incidence of mortality or liver transplantation in decompensated ACLD</vt:lpstr>
      <vt:lpstr>Systemic inflammation increases across stages of ACLD  and correlates with decompensation and mortality </vt:lpstr>
      <vt:lpstr>Diapositiva 13</vt:lpstr>
      <vt:lpstr>The pathophysiological paradigma of  decompensated cirrhosis  </vt:lpstr>
      <vt:lpstr>Metabolic alterations in  decompensated cirrhosis </vt:lpstr>
      <vt:lpstr>Diapositiva 16</vt:lpstr>
      <vt:lpstr>Targeting Gut-Liver Axis </vt:lpstr>
      <vt:lpstr>E’ possibile prevenire il primo     evento  di  scompenso ? </vt:lpstr>
      <vt:lpstr>New Paradigm for CPSH post PREDESCI</vt:lpstr>
      <vt:lpstr>Treating dysbiosis in liver cirrhosis </vt:lpstr>
      <vt:lpstr>FMT </vt:lpstr>
      <vt:lpstr>Microbiome-targeted therapeutics </vt:lpstr>
      <vt:lpstr>Diapositiva 23</vt:lpstr>
      <vt:lpstr>Diapositiva 24</vt:lpstr>
      <vt:lpstr>Rifaximin :  anti-bacterial translocation drug</vt:lpstr>
      <vt:lpstr>Diapositiva 26</vt:lpstr>
      <vt:lpstr>Diapositiva 27</vt:lpstr>
      <vt:lpstr>Diapositiva 28</vt:lpstr>
      <vt:lpstr>Diapositiva 29</vt:lpstr>
      <vt:lpstr>Diapositiva 30</vt:lpstr>
      <vt:lpstr>Low quality of evidence </vt:lpstr>
      <vt:lpstr>LIVER HOPE Project  Pathophysiologic approach to decompensated cirrhosis </vt:lpstr>
      <vt:lpstr>Pleiotropic effects of statins on small GTPases in the Liver   </vt:lpstr>
      <vt:lpstr>Sinvastatin plus Standard Therapy for Prevention of Variceal Bleeding Not Reduce Variceal Bleeding but Increase Survival </vt:lpstr>
      <vt:lpstr>Statins prevent ACLF</vt:lpstr>
      <vt:lpstr>Statins prevent  short-term mortality </vt:lpstr>
      <vt:lpstr>LIVER HOPE Project : Pathophysiologic approach to decompensated cirrhosis </vt:lpstr>
      <vt:lpstr>LIVERHOPE - SAFETY</vt:lpstr>
      <vt:lpstr>LIVERHOPE – SAFETY </vt:lpstr>
      <vt:lpstr>Modulation of systemic inflammation </vt:lpstr>
      <vt:lpstr>Changes of Inflammatory Markers</vt:lpstr>
      <vt:lpstr>Carvedilol plus Simvastatin modulates systemic inflammation in cirrhosis with portal hypertension and non-response to b-blockers</vt:lpstr>
      <vt:lpstr>Pleiotropic effects of Albumin </vt:lpstr>
      <vt:lpstr>Albumin :  structure  affects  function</vt:lpstr>
      <vt:lpstr>Albumin administration targets multiple complications in patients with cirrhosis </vt:lpstr>
      <vt:lpstr>The consensus on Albumin use </vt:lpstr>
      <vt:lpstr>Long term use of albumin  in decompensated liver cirrhosis </vt:lpstr>
      <vt:lpstr>Albumin :  insufficient evidence for guideline recommendations</vt:lpstr>
      <vt:lpstr>Albumin </vt:lpstr>
      <vt:lpstr>Diapositiva 50</vt:lpstr>
      <vt:lpstr>Albumin : modulator of immune  and inflammatory responses </vt:lpstr>
      <vt:lpstr>Albumin downregulates systemic inflammation in decompensated cirrhosis</vt:lpstr>
      <vt:lpstr> Functions of Human Serum Albumin </vt:lpstr>
      <vt:lpstr>Cytokines, PCR and  irreversible oxidized albumin </vt:lpstr>
      <vt:lpstr>Serum effective albumin  in liver cirrhosis </vt:lpstr>
      <vt:lpstr>Albumin :  High vs Low dose </vt:lpstr>
      <vt:lpstr>Diapositiva 57</vt:lpstr>
      <vt:lpstr>Diapositiva 58</vt:lpstr>
      <vt:lpstr>Diapositiva 59</vt:lpstr>
      <vt:lpstr>Pleiotropic effects of statins  on small GTPases in the liver </vt:lpstr>
      <vt:lpstr>Albumin recycling by endothelial cell</vt:lpstr>
      <vt:lpstr> Deregulation of the gut endothelial barrier &amp; Translocation of mediators of inflammation    </vt:lpstr>
      <vt:lpstr>Diapositiva 63</vt:lpstr>
      <vt:lpstr>Diapositiva 64</vt:lpstr>
      <vt:lpstr>Sinvastatin &amp; Rifaximin modulates the metabolomic prophile of patients  with decompensated liver cirrhosis 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Gaetano</dc:creator>
  <cp:lastModifiedBy>Gaetano</cp:lastModifiedBy>
  <cp:revision>319</cp:revision>
  <dcterms:created xsi:type="dcterms:W3CDTF">2023-05-07T15:15:00Z</dcterms:created>
  <dcterms:modified xsi:type="dcterms:W3CDTF">2023-05-29T06:58:39Z</dcterms:modified>
</cp:coreProperties>
</file>